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3.xml" ContentType="application/vnd.openxmlformats-officedocument.presentationml.notesSlide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tags/tag45.xml" ContentType="application/vnd.openxmlformats-officedocument.presentationml.tags+xml"/>
  <Override PartName="/ppt/notesSlides/notesSlide16.xml" ContentType="application/vnd.openxmlformats-officedocument.presentationml.notesSlide+xml"/>
  <Override PartName="/ppt/tags/tag46.xml" ContentType="application/vnd.openxmlformats-officedocument.presentationml.tags+xml"/>
  <Override PartName="/ppt/notesSlides/notesSlide17.xml" ContentType="application/vnd.openxmlformats-officedocument.presentationml.notesSlide+xml"/>
  <Override PartName="/ppt/tags/tag47.xml" ContentType="application/vnd.openxmlformats-officedocument.presentationml.tags+xml"/>
  <Override PartName="/ppt/notesSlides/notesSlide18.xml" ContentType="application/vnd.openxmlformats-officedocument.presentationml.notesSlide+xml"/>
  <Override PartName="/ppt/tags/tag48.xml" ContentType="application/vnd.openxmlformats-officedocument.presentationml.tags+xml"/>
  <Override PartName="/ppt/notesSlides/notesSlide19.xml" ContentType="application/vnd.openxmlformats-officedocument.presentationml.notesSlide+xml"/>
  <Override PartName="/ppt/tags/tag49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1.xml" ContentType="application/vnd.openxmlformats-officedocument.presentationml.notesSlide+xml"/>
  <Override PartName="/ppt/tags/tag65.xml" ContentType="application/vnd.openxmlformats-officedocument.presentationml.tags+xml"/>
  <Override PartName="/ppt/notesSlides/notesSlide22.xml" ContentType="application/vnd.openxmlformats-officedocument.presentationml.notesSlide+xml"/>
  <Override PartName="/ppt/tags/tag66.xml" ContentType="application/vnd.openxmlformats-officedocument.presentationml.tags+xml"/>
  <Override PartName="/ppt/notesSlides/notesSlide23.xml" ContentType="application/vnd.openxmlformats-officedocument.presentationml.notesSlide+xml"/>
  <Override PartName="/ppt/tags/tag67.xml" ContentType="application/vnd.openxmlformats-officedocument.presentationml.tags+xml"/>
  <Override PartName="/ppt/notesSlides/notesSlide24.xml" ContentType="application/vnd.openxmlformats-officedocument.presentationml.notesSlide+xml"/>
  <Override PartName="/ppt/tags/tag68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8" r:id="rId2"/>
  </p:sldMasterIdLst>
  <p:notesMasterIdLst>
    <p:notesMasterId r:id="rId30"/>
  </p:notesMasterIdLst>
  <p:sldIdLst>
    <p:sldId id="266" r:id="rId3"/>
    <p:sldId id="555" r:id="rId4"/>
    <p:sldId id="556" r:id="rId5"/>
    <p:sldId id="569" r:id="rId6"/>
    <p:sldId id="536" r:id="rId7"/>
    <p:sldId id="570" r:id="rId8"/>
    <p:sldId id="571" r:id="rId9"/>
    <p:sldId id="572" r:id="rId10"/>
    <p:sldId id="573" r:id="rId11"/>
    <p:sldId id="574" r:id="rId12"/>
    <p:sldId id="575" r:id="rId13"/>
    <p:sldId id="576" r:id="rId14"/>
    <p:sldId id="577" r:id="rId15"/>
    <p:sldId id="579" r:id="rId16"/>
    <p:sldId id="535" r:id="rId17"/>
    <p:sldId id="580" r:id="rId18"/>
    <p:sldId id="581" r:id="rId19"/>
    <p:sldId id="541" r:id="rId20"/>
    <p:sldId id="582" r:id="rId21"/>
    <p:sldId id="545" r:id="rId22"/>
    <p:sldId id="510" r:id="rId23"/>
    <p:sldId id="364" r:id="rId24"/>
    <p:sldId id="559" r:id="rId25"/>
    <p:sldId id="499" r:id="rId26"/>
    <p:sldId id="560" r:id="rId27"/>
    <p:sldId id="522" r:id="rId28"/>
    <p:sldId id="567" r:id="rId29"/>
  </p:sldIdLst>
  <p:sldSz cx="12192000" cy="6858000"/>
  <p:notesSz cx="7010400" cy="92964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el Teel" initials="MT" lastIdx="13" clrIdx="0">
    <p:extLst>
      <p:ext uri="{19B8F6BF-5375-455C-9EA6-DF929625EA0E}">
        <p15:presenceInfo xmlns:p15="http://schemas.microsoft.com/office/powerpoint/2012/main" userId="5b8cb939ee862f61" providerId="Windows Live"/>
      </p:ext>
    </p:extLst>
  </p:cmAuthor>
  <p:cmAuthor id="2" name="Ravi Patel" initials="RP" lastIdx="1" clrIdx="1">
    <p:extLst>
      <p:ext uri="{19B8F6BF-5375-455C-9EA6-DF929625EA0E}">
        <p15:presenceInfo xmlns:p15="http://schemas.microsoft.com/office/powerpoint/2012/main" userId="Ravi Patel" providerId="None"/>
      </p:ext>
    </p:extLst>
  </p:cmAuthor>
  <p:cmAuthor id="3" name="Brooke Williamson" initials="BW" lastIdx="0" clrIdx="2">
    <p:extLst>
      <p:ext uri="{19B8F6BF-5375-455C-9EA6-DF929625EA0E}">
        <p15:presenceInfo xmlns:p15="http://schemas.microsoft.com/office/powerpoint/2012/main" userId="Brooke Williams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5A07"/>
    <a:srgbClr val="666666"/>
    <a:srgbClr val="FFEBEB"/>
    <a:srgbClr val="FFD9D9"/>
    <a:srgbClr val="999999"/>
    <a:srgbClr val="00444F"/>
    <a:srgbClr val="D1B929"/>
    <a:srgbClr val="ECF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13" autoAdjust="0"/>
    <p:restoredTop sz="96215" autoAdjust="0"/>
  </p:normalViewPr>
  <p:slideViewPr>
    <p:cSldViewPr snapToGrid="0">
      <p:cViewPr varScale="1">
        <p:scale>
          <a:sx n="110" d="100"/>
          <a:sy n="110" d="100"/>
        </p:scale>
        <p:origin x="360" y="102"/>
      </p:cViewPr>
      <p:guideLst/>
    </p:cSldViewPr>
  </p:slideViewPr>
  <p:outlineViewPr>
    <p:cViewPr>
      <p:scale>
        <a:sx n="33" d="100"/>
        <a:sy n="33" d="100"/>
      </p:scale>
      <p:origin x="0" y="-13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sz="700" b="1" baseline="0" dirty="0">
                <a:solidFill>
                  <a:schemeClr val="bg1"/>
                </a:solidFill>
              </a:rPr>
              <a:t>Total Bot Users</a:t>
            </a:r>
          </a:p>
        </c:rich>
      </c:tx>
      <c:layout>
        <c:manualLayout>
          <c:xMode val="edge"/>
          <c:yMode val="edge"/>
          <c:x val="0.30372082931424854"/>
          <c:y val="1.91225336617130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415989210839445"/>
          <c:y val="0.20616717208102267"/>
          <c:w val="0.79278302082063401"/>
          <c:h val="0.496170020272421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Total VAO Stor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Jan</c:v>
                </c:pt>
                <c:pt idx="1">
                  <c:v>Feb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</c:v>
                </c:pt>
                <c:pt idx="1">
                  <c:v>20</c:v>
                </c:pt>
                <c:pt idx="2">
                  <c:v>50</c:v>
                </c:pt>
                <c:pt idx="3">
                  <c:v>200</c:v>
                </c:pt>
                <c:pt idx="4">
                  <c:v>400</c:v>
                </c:pt>
                <c:pt idx="5">
                  <c:v>600</c:v>
                </c:pt>
                <c:pt idx="6">
                  <c:v>800</c:v>
                </c:pt>
                <c:pt idx="7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A5-4AA1-AE43-49115A2DAA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39388432"/>
        <c:axId val="1139390608"/>
      </c:barChart>
      <c:catAx>
        <c:axId val="1139388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9390608"/>
        <c:crosses val="autoZero"/>
        <c:auto val="1"/>
        <c:lblAlgn val="ctr"/>
        <c:lblOffset val="100"/>
        <c:noMultiLvlLbl val="0"/>
      </c:catAx>
      <c:valAx>
        <c:axId val="1139390608"/>
        <c:scaling>
          <c:orientation val="minMax"/>
          <c:max val="10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9388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698849467926427"/>
          <c:y val="0.88220494691753093"/>
          <c:w val="0.56065085860860375"/>
          <c:h val="0.109056690178207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% First Level Inquiries</a:t>
            </a:r>
            <a:b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d by Bot</a:t>
            </a:r>
          </a:p>
        </c:rich>
      </c:tx>
      <c:layout>
        <c:manualLayout>
          <c:xMode val="edge"/>
          <c:yMode val="edge"/>
          <c:x val="0.25200644974949227"/>
          <c:y val="2.309453469969072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281439820022497"/>
          <c:y val="0.20765973620291353"/>
          <c:w val="0.78480464941882266"/>
          <c:h val="0.394059517658726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nsactions completed with VAO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Jan</c:v>
                </c:pt>
                <c:pt idx="1">
                  <c:v>Feb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6</c:v>
                </c:pt>
                <c:pt idx="1">
                  <c:v>0.62</c:v>
                </c:pt>
                <c:pt idx="2">
                  <c:v>0.65</c:v>
                </c:pt>
                <c:pt idx="3">
                  <c:v>0.7</c:v>
                </c:pt>
                <c:pt idx="4">
                  <c:v>0.75</c:v>
                </c:pt>
                <c:pt idx="5">
                  <c:v>0.78</c:v>
                </c:pt>
                <c:pt idx="6">
                  <c:v>0.8</c:v>
                </c:pt>
                <c:pt idx="7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42-4FF3-89AC-3E280717DA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ansactions Assisted by Human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Jan</c:v>
                </c:pt>
                <c:pt idx="1">
                  <c:v>Feb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4</c:v>
                </c:pt>
                <c:pt idx="1">
                  <c:v>0.38</c:v>
                </c:pt>
                <c:pt idx="2">
                  <c:v>0.35</c:v>
                </c:pt>
                <c:pt idx="3">
                  <c:v>0.3</c:v>
                </c:pt>
                <c:pt idx="4">
                  <c:v>0.25</c:v>
                </c:pt>
                <c:pt idx="5">
                  <c:v>0.22</c:v>
                </c:pt>
                <c:pt idx="6">
                  <c:v>0.2</c:v>
                </c:pt>
                <c:pt idx="7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42-4FF3-89AC-3E280717DA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39396592"/>
        <c:axId val="1139399856"/>
      </c:barChart>
      <c:catAx>
        <c:axId val="1139396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9399856"/>
        <c:crosses val="autoZero"/>
        <c:auto val="1"/>
        <c:lblAlgn val="ctr"/>
        <c:lblOffset val="100"/>
        <c:noMultiLvlLbl val="0"/>
      </c:catAx>
      <c:valAx>
        <c:axId val="1139399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6350"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939659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3.580727409073866E-2"/>
          <c:y val="0.81263933676590239"/>
          <c:w val="0.90933745781777275"/>
          <c:h val="0.159887045912095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/>
              <a:t>Percentage High Bot Satisfaction Ratings</a:t>
            </a:r>
          </a:p>
        </c:rich>
      </c:tx>
      <c:layout>
        <c:manualLayout>
          <c:xMode val="edge"/>
          <c:yMode val="edge"/>
          <c:x val="0.29988202121124891"/>
          <c:y val="1.36397199208136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491601066914596"/>
          <c:y val="0.19924099221857572"/>
          <c:w val="0.78202690225988247"/>
          <c:h val="0.426291445491912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Order Accuracy Across VAO - Enabled Stor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9</c:f>
              <c:strCache>
                <c:ptCount val="8"/>
                <c:pt idx="0">
                  <c:v>Jan</c:v>
                </c:pt>
                <c:pt idx="1">
                  <c:v>Feb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5</c:v>
                </c:pt>
                <c:pt idx="1">
                  <c:v>0.55000000000000004</c:v>
                </c:pt>
                <c:pt idx="2">
                  <c:v>0.6</c:v>
                </c:pt>
                <c:pt idx="3">
                  <c:v>0.69</c:v>
                </c:pt>
                <c:pt idx="4">
                  <c:v>0.78</c:v>
                </c:pt>
                <c:pt idx="5">
                  <c:v>0.8</c:v>
                </c:pt>
                <c:pt idx="6">
                  <c:v>0.83</c:v>
                </c:pt>
                <c:pt idx="7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BF-464B-AE9F-8FA8968C6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39394960"/>
        <c:axId val="1139395504"/>
      </c:barChart>
      <c:catAx>
        <c:axId val="1139394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9395504"/>
        <c:crosses val="autoZero"/>
        <c:auto val="1"/>
        <c:lblAlgn val="ctr"/>
        <c:lblOffset val="100"/>
        <c:noMultiLvlLbl val="0"/>
      </c:catAx>
      <c:valAx>
        <c:axId val="113939550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6350"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9394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3.6262665470331391E-2"/>
          <c:y val="0.81927604171790358"/>
          <c:w val="0.91373685111906333"/>
          <c:h val="0.180724064101732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496429975530578E-2"/>
          <c:y val="0.33297587986922594"/>
          <c:w val="0.48596190440937703"/>
          <c:h val="0.4767519529724025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175"/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6E-4BF0-8D23-C14D7658F631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6E-4BF0-8D23-C14D7658F631}"/>
              </c:ext>
            </c:extLst>
          </c:dPt>
          <c:dPt>
            <c:idx val="2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6E-4BF0-8D23-C14D7658F631}"/>
              </c:ext>
            </c:extLst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  <a:ln w="31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6E-4BF0-8D23-C14D7658F63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User Opt-out</c:v>
                </c:pt>
                <c:pt idx="1">
                  <c:v>Operator-triggered</c:v>
                </c:pt>
                <c:pt idx="2">
                  <c:v>Emotions-triggered</c:v>
                </c:pt>
                <c:pt idx="3">
                  <c:v>Conversation-trigger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.2</c:v>
                </c:pt>
                <c:pt idx="1">
                  <c:v>4.0999999999999996</c:v>
                </c:pt>
                <c:pt idx="2">
                  <c:v>1.1000000000000001</c:v>
                </c:pt>
                <c:pt idx="3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76E-4BF0-8D23-C14D7658F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1250601936695661"/>
          <c:y val="0.26440918939678215"/>
          <c:w val="0.47674940711228536"/>
          <c:h val="0.641079491121252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chemeClr val="bg1"/>
                </a:solidFill>
              </a:rPr>
              <a:t>Time</a:t>
            </a:r>
          </a:p>
        </c:rich>
      </c:tx>
      <c:layout>
        <c:manualLayout>
          <c:xMode val="edge"/>
          <c:yMode val="edge"/>
          <c:x val="0.41991002635422081"/>
          <c:y val="1.36863973729622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302917667740347"/>
          <c:y val="0.20986647008561324"/>
          <c:w val="0.81542114097860252"/>
          <c:h val="0.488816101775372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:$B$2</c:f>
              <c:strCache>
                <c:ptCount val="2"/>
                <c:pt idx="0">
                  <c:v>Ave time (in seconds)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7</c:f>
              <c:strCache>
                <c:ptCount val="5"/>
                <c:pt idx="0">
                  <c:v>Breakfast</c:v>
                </c:pt>
                <c:pt idx="1">
                  <c:v>Lunch</c:v>
                </c:pt>
                <c:pt idx="2">
                  <c:v>Snack</c:v>
                </c:pt>
                <c:pt idx="3">
                  <c:v>Dinner</c:v>
                </c:pt>
                <c:pt idx="4">
                  <c:v>Late Night</c:v>
                </c:pt>
              </c:strCache>
            </c:strRef>
          </c:cat>
          <c:val>
            <c:numRef>
              <c:f>Sheet1!$B$3:$B$7</c:f>
              <c:numCache>
                <c:formatCode>General</c:formatCode>
                <c:ptCount val="5"/>
                <c:pt idx="0">
                  <c:v>183.38</c:v>
                </c:pt>
                <c:pt idx="1">
                  <c:v>214.4</c:v>
                </c:pt>
                <c:pt idx="2">
                  <c:v>217.81</c:v>
                </c:pt>
                <c:pt idx="3">
                  <c:v>229.8</c:v>
                </c:pt>
                <c:pt idx="4">
                  <c:v>261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39-418A-99AF-6017C7323939}"/>
            </c:ext>
          </c:extLst>
        </c:ser>
        <c:ser>
          <c:idx val="1"/>
          <c:order val="1"/>
          <c:tx>
            <c:strRef>
              <c:f>Sheet1!$C$1:$C$2</c:f>
              <c:strCache>
                <c:ptCount val="2"/>
                <c:pt idx="0">
                  <c:v>Coun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7</c:f>
              <c:strCache>
                <c:ptCount val="5"/>
                <c:pt idx="0">
                  <c:v>Breakfast</c:v>
                </c:pt>
                <c:pt idx="1">
                  <c:v>Lunch</c:v>
                </c:pt>
                <c:pt idx="2">
                  <c:v>Snack</c:v>
                </c:pt>
                <c:pt idx="3">
                  <c:v>Dinner</c:v>
                </c:pt>
                <c:pt idx="4">
                  <c:v>Late Night</c:v>
                </c:pt>
              </c:strCache>
            </c:strRef>
          </c:cat>
          <c:val>
            <c:numRef>
              <c:f>Sheet1!$C$3:$C$7</c:f>
              <c:numCache>
                <c:formatCode>General</c:formatCode>
                <c:ptCount val="5"/>
                <c:pt idx="0">
                  <c:v>350</c:v>
                </c:pt>
                <c:pt idx="1">
                  <c:v>384</c:v>
                </c:pt>
                <c:pt idx="2">
                  <c:v>381</c:v>
                </c:pt>
                <c:pt idx="3">
                  <c:v>391</c:v>
                </c:pt>
                <c:pt idx="4">
                  <c:v>3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39-418A-99AF-6017C73239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5"/>
        <c:axId val="1140041936"/>
        <c:axId val="1140034864"/>
      </c:barChart>
      <c:catAx>
        <c:axId val="11400419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 dirty="0">
                    <a:solidFill>
                      <a:schemeClr val="bg1"/>
                    </a:solidFill>
                  </a:rPr>
                  <a:t>Daypart</a:t>
                </a:r>
              </a:p>
            </c:rich>
          </c:tx>
          <c:layout>
            <c:manualLayout>
              <c:xMode val="edge"/>
              <c:yMode val="edge"/>
              <c:x val="0.41830135575960026"/>
              <c:y val="0.764557888094001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one"/>
        <c:spPr>
          <a:noFill/>
          <a:ln w="6350" cap="flat" cmpd="sng" algn="ctr">
            <a:solidFill>
              <a:schemeClr val="bg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34864"/>
        <c:crosses val="autoZero"/>
        <c:auto val="1"/>
        <c:lblAlgn val="ctr"/>
        <c:lblOffset val="100"/>
        <c:noMultiLvlLbl val="0"/>
      </c:catAx>
      <c:valAx>
        <c:axId val="11400348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41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1161152899039934"/>
          <c:y val="0.86836021003981967"/>
          <c:w val="0.78079503115674609"/>
          <c:h val="0.108803812409734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82759190319706"/>
          <c:y val="0.17526847524547645"/>
          <c:w val="0.79666030478055916"/>
          <c:h val="0.551238909130524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fore VAO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vg # Transactions Per Day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44-40D9-BBB5-E7213964E4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fter VA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vg # Transactions Per Day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6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44-40D9-BBB5-E7213964E4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40036496"/>
        <c:axId val="1140046288"/>
      </c:barChart>
      <c:catAx>
        <c:axId val="1140036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46288"/>
        <c:crosses val="autoZero"/>
        <c:auto val="1"/>
        <c:lblAlgn val="ctr"/>
        <c:lblOffset val="100"/>
        <c:noMultiLvlLbl val="0"/>
      </c:catAx>
      <c:valAx>
        <c:axId val="1140046288"/>
        <c:scaling>
          <c:orientation val="minMax"/>
          <c:max val="80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36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29878993164081"/>
          <c:y val="0.87415969091371271"/>
          <c:w val="0.71402364223754733"/>
          <c:h val="0.100195812813078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vg</a:t>
            </a:r>
            <a: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# Bot Queries per minute</a:t>
            </a:r>
            <a:b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VAO - Enabled Stores)</a:t>
            </a:r>
          </a:p>
        </c:rich>
      </c:tx>
      <c:layout>
        <c:manualLayout>
          <c:xMode val="edge"/>
          <c:yMode val="edge"/>
          <c:x val="0.14477979397825638"/>
          <c:y val="9.662047146239109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933665829522149"/>
          <c:y val="0.20865257513897512"/>
          <c:w val="0.83911364033880365"/>
          <c:h val="0.58625585847920136"/>
        </c:manualLayout>
      </c:layout>
      <c:lineChart>
        <c:grouping val="standard"/>
        <c:varyColors val="0"/>
        <c:ser>
          <c:idx val="0"/>
          <c:order val="0"/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c:spPr>
          </c:marker>
          <c:cat>
            <c:strRef>
              <c:f>'[Chart in Microsoft PowerPoint]Sheet1'!$A$2:$A$9</c:f>
              <c:strCache>
                <c:ptCount val="8"/>
                <c:pt idx="0">
                  <c:v>Jan</c:v>
                </c:pt>
                <c:pt idx="1">
                  <c:v>Feb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</c:v>
                </c:pt>
              </c:strCache>
            </c:strRef>
          </c:cat>
          <c:val>
            <c:numRef>
              <c:f>'[Chart in Microsoft PowerPoint]Sheet1'!$B$2:$B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.5</c:v>
                </c:pt>
                <c:pt idx="3">
                  <c:v>5</c:v>
                </c:pt>
                <c:pt idx="4">
                  <c:v>5.5</c:v>
                </c:pt>
                <c:pt idx="5">
                  <c:v>5.8</c:v>
                </c:pt>
                <c:pt idx="6">
                  <c:v>6</c:v>
                </c:pt>
                <c:pt idx="7">
                  <c:v>6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1F-492C-9FFB-EC3726FBC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0038672"/>
        <c:axId val="1140037584"/>
      </c:lineChart>
      <c:catAx>
        <c:axId val="1140038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37584"/>
        <c:crosses val="autoZero"/>
        <c:auto val="1"/>
        <c:lblAlgn val="ctr"/>
        <c:lblOffset val="100"/>
        <c:noMultiLvlLbl val="0"/>
      </c:catAx>
      <c:valAx>
        <c:axId val="1140037584"/>
        <c:scaling>
          <c:orientation val="minMax"/>
          <c:max val="8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3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1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roughput</a:t>
            </a:r>
            <a:b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7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Current Month)</a:t>
            </a:r>
          </a:p>
        </c:rich>
      </c:tx>
      <c:layout>
        <c:manualLayout>
          <c:xMode val="edge"/>
          <c:yMode val="edge"/>
          <c:x val="0.29188573162629555"/>
          <c:y val="8.8565443664664501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2859696224115112E-2"/>
          <c:y val="0.20941388684118603"/>
          <c:w val="0.86490311628289596"/>
          <c:h val="0.482847779830990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cation O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vg # Inquiries per minute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57-4090-AA9A-9C07456663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cation Tw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vg # Inquiries per minute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57-4090-AA9A-9C07456663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40035408"/>
        <c:axId val="1140047920"/>
      </c:barChart>
      <c:catAx>
        <c:axId val="1140035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47920"/>
        <c:crosses val="autoZero"/>
        <c:auto val="1"/>
        <c:lblAlgn val="ctr"/>
        <c:lblOffset val="100"/>
        <c:noMultiLvlLbl val="0"/>
      </c:catAx>
      <c:valAx>
        <c:axId val="11400479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035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795388768817727"/>
          <c:y val="0.85032211363449339"/>
          <c:w val="0.70409222462364551"/>
          <c:h val="0.123108218744377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D7B7A9B5-DCB8-4F0F-8B0A-A37CB5EB1C7B}" type="datetimeFigureOut">
              <a:rPr lang="en-US" smtClean="0"/>
              <a:pPr/>
              <a:t>2/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EE57EBD8-29C6-4834-AF06-809A38BBB1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297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291263" cy="35385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1F2B26-CF07-4E2A-A6D7-96B233C8EDA3}" type="slidenum">
              <a:rPr lang="en-US">
                <a:solidFill>
                  <a:srgbClr val="000000"/>
                </a:solidFill>
                <a:latin typeface="Segoe UI"/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9823658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1205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3111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S4 Solutions Specialist Summit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346E042-9237-46F6-9B05-8D62AC63C320}" type="datetime8">
              <a:rPr lang="en-US" smtClean="0">
                <a:solidFill>
                  <a:prstClr val="black"/>
                </a:solidFill>
              </a:rPr>
              <a:pPr/>
              <a:t>2/9/2017 1:46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5278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ue is money to Neal</a:t>
            </a:r>
          </a:p>
          <a:p>
            <a:r>
              <a:rPr lang="en-US" dirty="0"/>
              <a:t>Light</a:t>
            </a:r>
            <a:r>
              <a:rPr lang="en-US" baseline="0" dirty="0"/>
              <a:t> blue is standard staffing run-rate for existing functions automated by a BOT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S4 Solutions Specialist Summit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346E042-9237-46F6-9B05-8D62AC63C320}" type="datetime8">
              <a:rPr lang="en-US" smtClean="0">
                <a:solidFill>
                  <a:prstClr val="black"/>
                </a:solidFill>
              </a:rPr>
              <a:pPr/>
              <a:t>2/9/2017 1:46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0899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2011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5019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775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mos / New Menu Items - every 6 weeks there is a new menu item</a:t>
            </a:r>
          </a:p>
          <a:p>
            <a:r>
              <a:rPr lang="en-US" dirty="0"/>
              <a:t>-Is a refresh going to be deployed in the technology of each store?</a:t>
            </a:r>
          </a:p>
          <a:p>
            <a:r>
              <a:rPr lang="en-US" dirty="0"/>
              <a:t>Accuracy / New Learnings – Positive Feedback that learns from the technology in the fiel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3164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6484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867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1F2B26-CF07-4E2A-A6D7-96B233C8EDA3}" type="slidenum">
              <a:rPr lang="en-US" smtClean="0">
                <a:latin typeface="Segoe UI"/>
              </a:rPr>
              <a:pPr>
                <a:defRPr/>
              </a:pPr>
              <a:t>2</a:t>
            </a:fld>
            <a:endParaRPr 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868057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7998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6864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1F2B26-CF07-4E2A-A6D7-96B233C8EDA3}" type="slidenum">
              <a:rPr lang="en-US" smtClean="0">
                <a:latin typeface="Segoe UI"/>
              </a:rPr>
              <a:pPr>
                <a:defRPr/>
              </a:pPr>
              <a:t>23</a:t>
            </a:fld>
            <a:endParaRPr 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120934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0314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1F2B26-CF07-4E2A-A6D7-96B233C8EDA3}" type="slidenum">
              <a:rPr lang="en-US" smtClean="0">
                <a:latin typeface="Segoe UI"/>
              </a:rPr>
              <a:pPr>
                <a:defRPr/>
              </a:pPr>
              <a:t>25</a:t>
            </a:fld>
            <a:endParaRPr 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5923602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is actual</a:t>
            </a:r>
            <a:r>
              <a:rPr lang="en-US" baseline="0" dirty="0"/>
              <a:t> being offered – skipping to the why its bette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511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1F2B26-CF07-4E2A-A6D7-96B233C8EDA3}" type="slidenum">
              <a:rPr lang="en-US" smtClean="0">
                <a:latin typeface="Segoe UI"/>
              </a:rPr>
              <a:pPr>
                <a:defRPr/>
              </a:pPr>
              <a:t>3</a:t>
            </a:fld>
            <a:endParaRPr 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23051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934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564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7397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353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o do we do it for? (potentially move up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7982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57EBD8-29C6-4834-AF06-809A38BBB13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297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.png"/><Relationship Id="rId5" Type="http://schemas.openxmlformats.org/officeDocument/2006/relationships/image" Target="../media/image4.jpeg"/><Relationship Id="rId10" Type="http://schemas.openxmlformats.org/officeDocument/2006/relationships/image" Target="../media/image7.jpg"/><Relationship Id="rId4" Type="http://schemas.openxmlformats.org/officeDocument/2006/relationships/image" Target="../media/image2.jpg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w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76689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3861" y="2570305"/>
            <a:ext cx="10647684" cy="1089529"/>
          </a:xfrm>
          <a:noFill/>
        </p:spPr>
        <p:txBody>
          <a:bodyPr wrap="square" lIns="0" rtlCol="0" anchor="b">
            <a:spAutoFit/>
          </a:bodyPr>
          <a:lstStyle>
            <a:lvl1pPr>
              <a:defRPr lang="en-US" sz="7200" b="0" cap="none" spc="-150" baseline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itchFamily="34" charset="0"/>
                <a:ea typeface="+mn-ea"/>
                <a:cs typeface="Segoe UI"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 dirty="0"/>
              <a:t>Click to edi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3861" y="3669018"/>
            <a:ext cx="10647684" cy="369332"/>
          </a:xfrm>
          <a:noFill/>
        </p:spPr>
        <p:txBody>
          <a:bodyPr wrap="square" lIns="0" rtlCol="0">
            <a:spAutoFit/>
          </a:bodyPr>
          <a:lstStyle>
            <a:lvl1pPr marL="0" indent="0">
              <a:buNone/>
              <a:def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itchFamily="34" charset="0"/>
                <a:cs typeface="Segoe UI"/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183861" y="5127850"/>
            <a:ext cx="10647684" cy="307777"/>
          </a:xfrm>
        </p:spPr>
        <p:txBody>
          <a:bodyPr wrap="square">
            <a:sp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2000" kern="120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itchFamily="34" charset="0"/>
                <a:ea typeface="+mn-ea"/>
                <a:cs typeface="Segoe UI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83861" y="784711"/>
            <a:ext cx="3444690" cy="984822"/>
            <a:chOff x="1183552" y="784711"/>
            <a:chExt cx="3443793" cy="984822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 rotWithShape="1">
            <a:blip r:embed="rId6" cstate="screen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70845"/>
            <a:stretch/>
          </p:blipFill>
          <p:spPr>
            <a:xfrm>
              <a:off x="1183552" y="784711"/>
              <a:ext cx="1004023" cy="98482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Picture 423"/>
            <p:cNvPicPr>
              <a:picLocks noChangeAspect="1" noChangeArrowheads="1"/>
            </p:cNvPicPr>
            <p:nvPr userDrawn="1"/>
          </p:nvPicPr>
          <p:blipFill>
            <a:blip r:embed="rId7" cstate="print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88945" y="784711"/>
              <a:ext cx="2438400" cy="9826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89806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u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3" y="301617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448212" y="481157"/>
            <a:ext cx="1214650" cy="304828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83308" y="5954047"/>
            <a:ext cx="1862846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2402713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083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063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9239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7829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327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306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6632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3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667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042" y="649910"/>
            <a:ext cx="2983694" cy="85302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Rectangle 29"/>
          <p:cNvSpPr/>
          <p:nvPr userDrawn="1"/>
        </p:nvSpPr>
        <p:spPr bwMode="auto">
          <a:xfrm>
            <a:off x="2" y="1680748"/>
            <a:ext cx="7263785" cy="3607747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7391630" y="3528430"/>
            <a:ext cx="2336266" cy="1753365"/>
          </a:xfrm>
          <a:prstGeom prst="rect">
            <a:avLst/>
          </a:prstGeom>
          <a:solidFill>
            <a:srgbClr val="00444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-5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Segoe UI Light" pitchFamily="34" charset="0"/>
              <a:ea typeface="+mn-ea"/>
              <a:cs typeface="Segoe UI"/>
            </a:endParaRPr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9855735" y="1680748"/>
            <a:ext cx="2336266" cy="175336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466" b="12466"/>
          <a:stretch/>
        </p:blipFill>
        <p:spPr bwMode="auto">
          <a:xfrm>
            <a:off x="7391630" y="1680746"/>
            <a:ext cx="2336266" cy="175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74627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74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" y="2723368"/>
            <a:ext cx="7263786" cy="840230"/>
          </a:xfrm>
          <a:noFill/>
        </p:spPr>
        <p:txBody>
          <a:bodyPr wrap="square" lIns="457200" rtlCol="0" anchor="b">
            <a:spAutoFit/>
          </a:bodyPr>
          <a:lstStyle>
            <a:lvl1pPr>
              <a:defRPr lang="en-US" sz="5400" b="0" cap="none" spc="-150" baseline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itchFamily="34" charset="0"/>
                <a:ea typeface="+mn-ea"/>
                <a:cs typeface="Segoe UI"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 dirty="0"/>
              <a:t>Click to edit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" y="3515973"/>
            <a:ext cx="7263786" cy="369332"/>
          </a:xfrm>
          <a:noFill/>
        </p:spPr>
        <p:txBody>
          <a:bodyPr wrap="square" lIns="457200" rtlCol="0">
            <a:spAutoFit/>
          </a:bodyPr>
          <a:lstStyle>
            <a:lvl1pPr marL="0" indent="0">
              <a:buNone/>
              <a:defRPr lang="en-US" sz="2400" spc="-50" dirty="0">
                <a:ln>
                  <a:noFill/>
                </a:ln>
                <a:solidFill>
                  <a:schemeClr val="bg1"/>
                </a:solidFill>
                <a:latin typeface="Segoe UI Light" pitchFamily="34" charset="0"/>
                <a:cs typeface="Segoe UI"/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subtitle style</a:t>
            </a:r>
          </a:p>
        </p:txBody>
      </p:sp>
      <p:pic>
        <p:nvPicPr>
          <p:cNvPr id="13" name="Picture 145" descr="https://satalyst.com/wp-content/uploads/2015/12/logo-1_700x232-700x232.jp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6" b="25151"/>
          <a:stretch/>
        </p:blipFill>
        <p:spPr bwMode="auto">
          <a:xfrm>
            <a:off x="9909011" y="2284002"/>
            <a:ext cx="2222828" cy="55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/>
          <a:srcRect l="5952" r="5952"/>
          <a:stretch/>
        </p:blipFill>
        <p:spPr>
          <a:xfrm>
            <a:off x="7547781" y="3764345"/>
            <a:ext cx="2029608" cy="130189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5103" y="3528431"/>
            <a:ext cx="2338550" cy="1751782"/>
          </a:xfrm>
          <a:prstGeom prst="rect">
            <a:avLst/>
          </a:prstGeom>
        </p:spPr>
      </p:pic>
      <p:pic>
        <p:nvPicPr>
          <p:cNvPr id="181726" name="Picture 1502" descr="Image result for west we connect we deliver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1267" y="113805"/>
            <a:ext cx="1847654" cy="147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1" t="14931" r="7431" b="14931"/>
          <a:stretch/>
        </p:blipFill>
        <p:spPr>
          <a:xfrm>
            <a:off x="5824415" y="277556"/>
            <a:ext cx="3752974" cy="11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1758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4" y="2906011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2703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1186356"/>
            <a:ext cx="89642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964247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21224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964247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45150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5922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90674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792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004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1714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4379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70067"/>
            <a:ext cx="1408078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553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62769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282" y="1066801"/>
            <a:ext cx="11474263" cy="1851789"/>
          </a:xfrm>
        </p:spPr>
        <p:txBody>
          <a:bodyPr/>
          <a:lstStyle>
            <a:lvl2pPr>
              <a:defRPr sz="20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87535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67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304805"/>
            <a:ext cx="11151917" cy="74789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295405"/>
            <a:ext cx="11151917" cy="20520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85800" y="6554698"/>
            <a:ext cx="5029200" cy="228600"/>
          </a:xfrm>
          <a:prstGeom prst="rect">
            <a:avLst/>
          </a:prstGeom>
        </p:spPr>
        <p:txBody>
          <a:bodyPr/>
          <a:lstStyle>
            <a:lvl1pPr>
              <a:defRPr sz="824"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203200" y="6356355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 </a:t>
            </a:r>
            <a:fld id="{4D05B46B-965E-4C6F-B47B-A2BA671BC8A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51377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71645"/>
            <a:ext cx="10985611" cy="304801"/>
          </a:xfrm>
        </p:spPr>
        <p:txBody>
          <a:bodyPr lIns="0" anchor="b" anchorCtr="0">
            <a:noAutofit/>
          </a:bodyPr>
          <a:lstStyle>
            <a:lvl1pPr marL="0" indent="0" algn="l">
              <a:buFont typeface="Arial" pitchFamily="34" charset="0"/>
              <a:buNone/>
              <a:defRPr sz="1600" b="1" cap="all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60713" y="249237"/>
            <a:ext cx="11034500" cy="1143000"/>
          </a:xfrm>
        </p:spPr>
        <p:txBody>
          <a:bodyPr lIns="0"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>
          <a:xfrm>
            <a:off x="1207107" y="6324600"/>
            <a:ext cx="1221428" cy="152400"/>
          </a:xfrm>
          <a:prstGeom prst="rect">
            <a:avLst/>
          </a:prstGeom>
        </p:spPr>
        <p:txBody>
          <a:bodyPr/>
          <a:lstStyle/>
          <a:p>
            <a:pPr defTabSz="914201"/>
            <a:endParaRPr lang="en-US" sz="1866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614296" y="6324600"/>
            <a:ext cx="516421" cy="15240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>
                <a:solidFill>
                  <a:srgbClr val="505050"/>
                </a:solidFill>
              </a:rPr>
              <a:t>PAGE </a:t>
            </a:r>
            <a:fld id="{711B4CA8-52BE-46B1-A536-58CE1A3FAF74}" type="slidenum">
              <a:rPr lang="en-US" smtClean="0">
                <a:solidFill>
                  <a:srgbClr val="505050"/>
                </a:solidFill>
              </a:rPr>
              <a:pPr algn="l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7"/>
          </p:nvPr>
        </p:nvSpPr>
        <p:spPr>
          <a:xfrm>
            <a:off x="614298" y="6461691"/>
            <a:ext cx="1814239" cy="128575"/>
          </a:xfrm>
          <a:prstGeom prst="rect">
            <a:avLst/>
          </a:prstGeom>
        </p:spPr>
        <p:txBody>
          <a:bodyPr/>
          <a:lstStyle/>
          <a:p>
            <a:pPr defTabSz="914201"/>
            <a:endParaRPr lang="en-US" sz="1866" dirty="0">
              <a:solidFill>
                <a:srgbClr val="505050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614338" y="1804992"/>
            <a:ext cx="9572495" cy="205203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42664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92442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282" y="1066802"/>
            <a:ext cx="11474263" cy="869469"/>
          </a:xfr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  <a:latin typeface="Segoe UI Light" pitchFamily="34" charset="0"/>
              </a:defRPr>
            </a:lvl1pPr>
            <a:lvl2pPr marL="347663" indent="-230188">
              <a:buClr>
                <a:schemeClr val="tx1">
                  <a:lumMod val="75000"/>
                  <a:lumOff val="25000"/>
                </a:schemeClr>
              </a:buClr>
              <a:buFont typeface="Arial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428750" indent="-287338">
              <a:buFont typeface="Arial" pitchFamily="34" charset="0"/>
              <a:buChar char="•"/>
              <a:defRPr/>
            </a:lvl3pPr>
            <a:lvl4pPr marL="1771650" indent="-228600">
              <a:buFont typeface="Arial" pitchFamily="34" charset="0"/>
              <a:buChar char="•"/>
              <a:defRPr/>
            </a:lvl4pPr>
            <a:lvl5pPr marL="2171700" indent="-277813"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05731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28007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7282" y="1066802"/>
            <a:ext cx="11474263" cy="185178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10436923" y="6361515"/>
            <a:ext cx="1378743" cy="394653"/>
            <a:chOff x="10434205" y="6361514"/>
            <a:chExt cx="1378384" cy="394653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6" cstate="screen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0980"/>
            <a:stretch/>
          </p:blipFill>
          <p:spPr>
            <a:xfrm>
              <a:off x="10434205" y="6361514"/>
              <a:ext cx="400484" cy="39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Picture 408"/>
            <p:cNvPicPr>
              <a:picLocks noChangeAspect="1" noChangeArrowheads="1"/>
            </p:cNvPicPr>
            <p:nvPr userDrawn="1"/>
          </p:nvPicPr>
          <p:blipFill>
            <a:blip r:embed="rId7" cstate="print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4689" y="6362467"/>
              <a:ext cx="977900" cy="393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689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7175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45720" rIns="91440" bIns="45720" rtlCol="0" anchor="ctr"/>
          <a:lstStyle>
            <a:lvl1pPr>
              <a:defRPr lang="en-US" smtClean="0"/>
            </a:lvl1pPr>
          </a:lstStyle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‹#›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529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96110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852551" y="3105837"/>
            <a:ext cx="8486899" cy="590931"/>
          </a:xfrm>
        </p:spPr>
        <p:txBody>
          <a:bodyPr wrap="square" anchor="b" anchorCtr="0">
            <a:spAutoFit/>
          </a:bodyPr>
          <a:lstStyle>
            <a:lvl1pPr algn="ctr">
              <a:defRPr sz="3600" b="0" i="1" spc="-50" baseline="0">
                <a:latin typeface="Segoe UI Light" panose="020B0502040204020203" pitchFamily="34" charset="0"/>
                <a:cs typeface="Segoe UI Light" panose="020B0502040204020203" pitchFamily="34" charset="0"/>
                <a:sym typeface="Segoe U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6923" y="6361515"/>
            <a:ext cx="1380408" cy="3946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6897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03" y="6119147"/>
            <a:ext cx="1253377" cy="26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4892" y="481158"/>
            <a:ext cx="1408078" cy="300619"/>
          </a:xfrm>
          <a:prstGeom prst="rect">
            <a:avLst/>
          </a:prstGeom>
        </p:spPr>
      </p:pic>
      <p:sp>
        <p:nvSpPr>
          <p:cNvPr id="12" name="Freeform 11"/>
          <p:cNvSpPr>
            <a:spLocks noEditPoints="1"/>
          </p:cNvSpPr>
          <p:nvPr userDrawn="1"/>
        </p:nvSpPr>
        <p:spPr bwMode="black">
          <a:xfrm>
            <a:off x="2095548" y="2425049"/>
            <a:ext cx="8000903" cy="2007903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54228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9860610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9860611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81158"/>
            <a:ext cx="1421436" cy="300619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37063" y="301617"/>
            <a:ext cx="3584143" cy="567015"/>
          </a:xfrm>
        </p:spPr>
        <p:txBody>
          <a:bodyPr lIns="182880" tIns="146304" rIns="182880" bIns="146304"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83308" y="5954047"/>
            <a:ext cx="1862846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#Build2016</a:t>
            </a:r>
          </a:p>
        </p:txBody>
      </p:sp>
    </p:spTree>
    <p:extLst>
      <p:ext uri="{BB962C8B-B14F-4D97-AF65-F5344CB8AC3E}">
        <p14:creationId xmlns:p14="http://schemas.microsoft.com/office/powerpoint/2010/main" val="2026080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7172160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72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701731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282" y="1066802"/>
            <a:ext cx="11474263" cy="18517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4067" y="6440972"/>
            <a:ext cx="1658112" cy="3270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/>
                </a:solidFill>
                <a:latin typeface="+mn-lt"/>
                <a:cs typeface="Segoe UI"/>
              </a:defRPr>
            </a:lvl1pPr>
          </a:lstStyle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‹#›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6923" y="6361515"/>
            <a:ext cx="1380408" cy="3946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0831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 cap="none" baseline="0">
          <a:ln>
            <a:noFill/>
          </a:ln>
          <a:solidFill>
            <a:schemeClr val="tx2">
              <a:lumMod val="50000"/>
            </a:schemeClr>
          </a:solidFill>
          <a:latin typeface="Segoe UI Light" pitchFamily="34" charset="0"/>
          <a:ea typeface="+mj-ea"/>
          <a:cs typeface="Segoe UI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0"/>
        </a:spcAft>
        <a:buClr>
          <a:schemeClr val="tx1">
            <a:lumMod val="75000"/>
            <a:lumOff val="25000"/>
          </a:schemeClr>
        </a:buClr>
        <a:buSzPct val="100000"/>
        <a:buFont typeface="Arial" pitchFamily="34" charset="0"/>
        <a:buChar char="•"/>
        <a:defRPr sz="2800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/>
        </a:defRPr>
      </a:lvl1pPr>
      <a:lvl2pPr marL="1031875" indent="-398463" algn="l" defTabSz="914400" rtl="0" eaLnBrk="1" latinLnBrk="0" hangingPunct="1">
        <a:spcBef>
          <a:spcPts val="300"/>
        </a:spcBef>
        <a:spcAft>
          <a:spcPts val="0"/>
        </a:spcAft>
        <a:buClr>
          <a:schemeClr val="tx1">
            <a:lumMod val="75000"/>
            <a:lumOff val="25000"/>
          </a:schemeClr>
        </a:buClr>
        <a:buSzPct val="100000"/>
        <a:buFont typeface="Arial" pitchFamily="34" charset="0"/>
        <a:buChar char="−"/>
        <a:defRPr sz="2400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/>
        </a:defRPr>
      </a:lvl2pPr>
      <a:lvl3pPr marL="1428750" indent="-287338" algn="l" defTabSz="914400" rtl="0" eaLnBrk="1" latinLnBrk="0" hangingPunct="1">
        <a:spcBef>
          <a:spcPts val="100"/>
        </a:spcBef>
        <a:spcAft>
          <a:spcPts val="0"/>
        </a:spcAft>
        <a:buClr>
          <a:schemeClr val="tx1">
            <a:lumMod val="75000"/>
            <a:lumOff val="25000"/>
          </a:schemeClr>
        </a:buClr>
        <a:buSzPct val="100000"/>
        <a:buFont typeface="Wingdings" pitchFamily="2" charset="2"/>
        <a:buChar char="§"/>
        <a:defRPr sz="2000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/>
        </a:defRPr>
      </a:lvl3pPr>
      <a:lvl4pPr marL="1771650" indent="-228600" algn="l" defTabSz="914400" rtl="0" eaLnBrk="1" latinLnBrk="0" hangingPunct="1">
        <a:spcBef>
          <a:spcPts val="200"/>
        </a:spcBef>
        <a:spcAft>
          <a:spcPts val="200"/>
        </a:spcAft>
        <a:buClr>
          <a:schemeClr val="tx1">
            <a:lumMod val="75000"/>
            <a:lumOff val="25000"/>
          </a:schemeClr>
        </a:buClr>
        <a:buSzPct val="100000"/>
        <a:buFont typeface="Wingdings" pitchFamily="2" charset="2"/>
        <a:buChar char="§"/>
        <a:defRPr sz="2000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/>
        </a:defRPr>
      </a:lvl4pPr>
      <a:lvl5pPr marL="2171700" indent="-277813" algn="l" defTabSz="914400" rtl="0" eaLnBrk="1" latinLnBrk="0" hangingPunct="1">
        <a:spcBef>
          <a:spcPts val="200"/>
        </a:spcBef>
        <a:spcAft>
          <a:spcPts val="200"/>
        </a:spcAft>
        <a:buClr>
          <a:schemeClr val="tx1">
            <a:lumMod val="75000"/>
            <a:lumOff val="25000"/>
          </a:schemeClr>
        </a:buClr>
        <a:buSzPct val="90000"/>
        <a:buFont typeface="Wingdings" pitchFamily="2" charset="2"/>
        <a:buChar char="§"/>
        <a:tabLst/>
        <a:defRPr sz="2000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Segoe U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7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672" userDrawn="1">
          <p15:clr>
            <a:srgbClr val="F26B43"/>
          </p15:clr>
        </p15:guide>
        <p15:guide id="5" orient="horz" pos="5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370906" y="-217"/>
            <a:ext cx="935477" cy="5654618"/>
            <a:chOff x="12618967" y="-221"/>
            <a:chExt cx="954235" cy="5767186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490" dirty="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980" baseline="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98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8063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48.pn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47.emf"/><Relationship Id="rId2" Type="http://schemas.openxmlformats.org/officeDocument/2006/relationships/tags" Target="../tags/tag21.xml"/><Relationship Id="rId16" Type="http://schemas.openxmlformats.org/officeDocument/2006/relationships/image" Target="../media/image51.png"/><Relationship Id="rId1" Type="http://schemas.openxmlformats.org/officeDocument/2006/relationships/vmlDrawing" Target="../drawings/vmlDrawing20.vml"/><Relationship Id="rId6" Type="http://schemas.openxmlformats.org/officeDocument/2006/relationships/tags" Target="../tags/tag25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4.xml"/><Relationship Id="rId15" Type="http://schemas.openxmlformats.org/officeDocument/2006/relationships/image" Target="../media/image50.jpeg"/><Relationship Id="rId10" Type="http://schemas.openxmlformats.org/officeDocument/2006/relationships/notesSlide" Target="../notesSlides/notesSlide12.xml"/><Relationship Id="rId4" Type="http://schemas.openxmlformats.org/officeDocument/2006/relationships/tags" Target="../tags/tag23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notesSlide" Target="../notesSlides/notesSlide13.xml"/><Relationship Id="rId3" Type="http://schemas.openxmlformats.org/officeDocument/2006/relationships/tags" Target="../tags/tag29.xml"/><Relationship Id="rId21" Type="http://schemas.openxmlformats.org/officeDocument/2006/relationships/image" Target="../media/image48.pn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image" Target="../media/image47.emf"/><Relationship Id="rId1" Type="http://schemas.openxmlformats.org/officeDocument/2006/relationships/vmlDrawing" Target="../drawings/vmlDrawing21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image" Target="../media/image51.pn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image" Target="../media/image50.jpeg"/><Relationship Id="rId10" Type="http://schemas.openxmlformats.org/officeDocument/2006/relationships/tags" Target="../tags/tag36.xml"/><Relationship Id="rId19" Type="http://schemas.openxmlformats.org/officeDocument/2006/relationships/oleObject" Target="../embeddings/oleObject20.bin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2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59.png"/><Relationship Id="rId5" Type="http://schemas.openxmlformats.org/officeDocument/2006/relationships/image" Target="../media/image55.png"/><Relationship Id="rId10" Type="http://schemas.openxmlformats.org/officeDocument/2006/relationships/image" Target="../media/image58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63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6.emf"/><Relationship Id="rId11" Type="http://schemas.openxmlformats.org/officeDocument/2006/relationships/image" Target="../media/image70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69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68.png"/><Relationship Id="rId1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chart" Target="../charts/chart6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3.jpeg"/><Relationship Id="rId12" Type="http://schemas.openxmlformats.org/officeDocument/2006/relationships/chart" Target="../charts/chart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6.emf"/><Relationship Id="rId11" Type="http://schemas.openxmlformats.org/officeDocument/2006/relationships/chart" Target="../charts/chart4.xml"/><Relationship Id="rId5" Type="http://schemas.openxmlformats.org/officeDocument/2006/relationships/oleObject" Target="../embeddings/oleObject27.bin"/><Relationship Id="rId15" Type="http://schemas.openxmlformats.org/officeDocument/2006/relationships/chart" Target="../charts/chart8.xml"/><Relationship Id="rId10" Type="http://schemas.openxmlformats.org/officeDocument/2006/relationships/chart" Target="../charts/chart3.xml"/><Relationship Id="rId4" Type="http://schemas.openxmlformats.org/officeDocument/2006/relationships/notesSlide" Target="../notesSlides/notesSlide20.xml"/><Relationship Id="rId9" Type="http://schemas.openxmlformats.org/officeDocument/2006/relationships/chart" Target="../charts/chart2.xml"/><Relationship Id="rId14" Type="http://schemas.openxmlformats.org/officeDocument/2006/relationships/chart" Target="../charts/char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notesSlide" Target="../notesSlides/notesSlide2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image" Target="../media/image16.emf"/><Relationship Id="rId1" Type="http://schemas.openxmlformats.org/officeDocument/2006/relationships/vmlDrawing" Target="../drawings/vmlDrawing29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19" Type="http://schemas.openxmlformats.org/officeDocument/2006/relationships/oleObject" Target="../embeddings/oleObject28.bin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ropbox.com/sh/jymep1u3xhs7h0y/AAC58E0WYGceO2MsWx4fn-c7a?dl=0" TargetMode="External"/><Relationship Id="rId3" Type="http://schemas.openxmlformats.org/officeDocument/2006/relationships/slideLayout" Target="../slideLayouts/slideLayout7.xml"/><Relationship Id="rId7" Type="http://schemas.openxmlformats.org/officeDocument/2006/relationships/hyperlink" Target="http://westchatbot.azurewebsites.net/" TargetMode="External"/><Relationship Id="rId12" Type="http://schemas.openxmlformats.org/officeDocument/2006/relationships/hyperlink" Target="https://www.dropbox.com/sh/wfomu068rran2bu/AADC5DdnYV2W4fphPki0oONIa?dl=0" TargetMode="External"/><Relationship Id="rId2" Type="http://schemas.openxmlformats.org/officeDocument/2006/relationships/tags" Target="../tags/tag6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6.emf"/><Relationship Id="rId11" Type="http://schemas.openxmlformats.org/officeDocument/2006/relationships/hyperlink" Target="http://westbotprocurement.azurewebsites.net/" TargetMode="External"/><Relationship Id="rId5" Type="http://schemas.openxmlformats.org/officeDocument/2006/relationships/oleObject" Target="../embeddings/oleObject29.bin"/><Relationship Id="rId10" Type="http://schemas.openxmlformats.org/officeDocument/2006/relationships/hyperlink" Target="https://www.dropbox.com/sh/k82z8r22srdyka6/AACMryHQif7z60qIeeg7ROKja?dl=0" TargetMode="External"/><Relationship Id="rId4" Type="http://schemas.openxmlformats.org/officeDocument/2006/relationships/notesSlide" Target="../notesSlides/notesSlide23.xml"/><Relationship Id="rId9" Type="http://schemas.openxmlformats.org/officeDocument/2006/relationships/hyperlink" Target="http://westdemo2017.azurewebsites.net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36.pn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tags" Target="../tags/tag17.xml"/><Relationship Id="rId16" Type="http://schemas.openxmlformats.org/officeDocument/2006/relationships/image" Target="../media/image31.png"/><Relationship Id="rId20" Type="http://schemas.openxmlformats.org/officeDocument/2006/relationships/image" Target="../media/image35.jpg"/><Relationship Id="rId29" Type="http://schemas.openxmlformats.org/officeDocument/2006/relationships/image" Target="../media/image44.jp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emf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32" Type="http://schemas.openxmlformats.org/officeDocument/2006/relationships/image" Target="../media/image46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30.png"/><Relationship Id="rId23" Type="http://schemas.openxmlformats.org/officeDocument/2006/relationships/image" Target="../media/image38.jpg"/><Relationship Id="rId28" Type="http://schemas.openxmlformats.org/officeDocument/2006/relationships/image" Target="../media/image43.jpg"/><Relationship Id="rId10" Type="http://schemas.openxmlformats.org/officeDocument/2006/relationships/image" Target="../media/image25.jpeg"/><Relationship Id="rId19" Type="http://schemas.openxmlformats.org/officeDocument/2006/relationships/image" Target="../media/image34.png"/><Relationship Id="rId31" Type="http://schemas.openxmlformats.org/officeDocument/2006/relationships/hyperlink" Target="https://www.akyumen.com/" TargetMode="Externa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4.jpe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538437"/>
              </p:ext>
            </p:extLst>
          </p:nvPr>
        </p:nvGraphicFramePr>
        <p:xfrm>
          <a:off x="3707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1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07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st Bot Hackathon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" y="3515973"/>
            <a:ext cx="7263786" cy="338554"/>
          </a:xfrm>
        </p:spPr>
        <p:txBody>
          <a:bodyPr/>
          <a:lstStyle/>
          <a:p>
            <a:r>
              <a:rPr lang="en-US" sz="2200" i="1" dirty="0"/>
              <a:t>Design, Architecture, and Demo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9353" y="4178595"/>
            <a:ext cx="24401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pc="-50" dirty="0">
                <a:solidFill>
                  <a:schemeClr val="bg1"/>
                </a:solidFill>
                <a:latin typeface="Segoe UI Light" pitchFamily="34" charset="0"/>
                <a:cs typeface="Segoe UI"/>
              </a:rPr>
              <a:t>January 26</a:t>
            </a:r>
            <a:r>
              <a:rPr lang="en-US" spc="-50" baseline="30000" dirty="0">
                <a:solidFill>
                  <a:schemeClr val="bg1"/>
                </a:solidFill>
                <a:latin typeface="Segoe UI Light" pitchFamily="34" charset="0"/>
                <a:cs typeface="Segoe UI"/>
              </a:rPr>
              <a:t>th</a:t>
            </a:r>
            <a:r>
              <a:rPr lang="en-US" spc="-50" dirty="0">
                <a:solidFill>
                  <a:schemeClr val="bg1"/>
                </a:solidFill>
                <a:latin typeface="Segoe UI Light" pitchFamily="34" charset="0"/>
                <a:cs typeface="Segoe UI"/>
              </a:rPr>
              <a:t>, 2016</a:t>
            </a:r>
          </a:p>
        </p:txBody>
      </p:sp>
    </p:spTree>
    <p:extLst>
      <p:ext uri="{BB962C8B-B14F-4D97-AF65-F5344CB8AC3E}">
        <p14:creationId xmlns:p14="http://schemas.microsoft.com/office/powerpoint/2010/main" val="9395976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 and Approach</a:t>
            </a:r>
          </a:p>
        </p:txBody>
      </p:sp>
      <p:sp>
        <p:nvSpPr>
          <p:cNvPr id="5" name="Rectangle 4"/>
          <p:cNvSpPr/>
          <p:nvPr/>
        </p:nvSpPr>
        <p:spPr>
          <a:xfrm>
            <a:off x="357282" y="1529413"/>
            <a:ext cx="5460260" cy="4776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rIns="9144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Increase personnel effectiveness </a:t>
            </a:r>
            <a:r>
              <a:rPr lang="en-US" dirty="0"/>
              <a:t>by enabling employees to find the right answer to understood questions automatically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Speed up action </a:t>
            </a:r>
            <a:r>
              <a:rPr lang="en-US" dirty="0"/>
              <a:t>by reducing costly delays and out of support hours gaps.  Lower data access barriers, leading to faster delivery and time to market reductions for new support material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Empower employees </a:t>
            </a:r>
            <a:r>
              <a:rPr lang="en-US" dirty="0"/>
              <a:t>by creating additional time for intellectual and creative resources to focus on high value activities such as strategy and innova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57282" y="1067748"/>
            <a:ext cx="5460260" cy="461665"/>
          </a:xfrm>
          <a:prstGeom prst="rect">
            <a:avLst/>
          </a:prstGeom>
          <a:solidFill>
            <a:srgbClr val="0074AF"/>
          </a:solidFill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 Light" panose="020B0502040204020203" pitchFamily="34" charset="0"/>
              </a:rPr>
              <a:t>Business Objectiv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496579" y="1067748"/>
            <a:ext cx="5460260" cy="461665"/>
          </a:xfrm>
          <a:prstGeom prst="rect">
            <a:avLst/>
          </a:prstGeom>
          <a:solidFill>
            <a:srgbClr val="0074AF"/>
          </a:solidFill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 Light" panose="020B0502040204020203" pitchFamily="34" charset="0"/>
              </a:rPr>
              <a:t>Approach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96579" y="1529413"/>
            <a:ext cx="5460260" cy="4776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rIns="91440" rtlCol="0" anchor="t">
            <a:noAutofit/>
          </a:bodyPr>
          <a:lstStyle/>
          <a:p>
            <a:pPr marL="174625" indent="-174625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nslat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logic and information system architecture into a graph that can be searched and traversed using a chat bot</a:t>
            </a:r>
          </a:p>
          <a:p>
            <a:pPr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4625" indent="-174625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and data sources so ERP data can be consumed and leveraged by chat bot</a:t>
            </a:r>
          </a:p>
          <a:p>
            <a:pPr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4625" indent="-174625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in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ificial intelligence systems to understand English expressions and translate them into commands to retrieve information from the program</a:t>
            </a:r>
          </a:p>
          <a:p>
            <a:pPr marL="174625" indent="-174625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4625" indent="-174625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umaniz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face by adding emotion to responses and leveraging common user interface (Skype). 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rot="5400000">
            <a:off x="5123227" y="3302003"/>
            <a:ext cx="2067665" cy="406400"/>
          </a:xfrm>
          <a:prstGeom prst="triangle">
            <a:avLst/>
          </a:prstGeom>
          <a:solidFill>
            <a:srgbClr val="0074AF"/>
          </a:solidFill>
          <a:effectLst/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0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558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8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8312683" y="2583935"/>
            <a:ext cx="3754057" cy="30040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txBody>
          <a:bodyPr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ower FastTrack help desk cost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re efficient usage of help desk time through tiering of issues 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ROI of FastTrack groups due to more time spent on high value strategic initiativ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364067" y="2583935"/>
            <a:ext cx="3754057" cy="30040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txBody>
          <a:bodyPr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compliance with FastTrack processes from people (users &amp; support agents) wanting to engag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re accurate outcomes from better policy adherence &amp; knowledgebase adherenc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duced tactical mistakes due to improved availability of information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Scale of Service (out-of-hours support)</a:t>
            </a:r>
          </a:p>
        </p:txBody>
      </p:sp>
      <p:sp>
        <p:nvSpPr>
          <p:cNvPr id="8" name="Rectangle 7"/>
          <p:cNvSpPr/>
          <p:nvPr/>
        </p:nvSpPr>
        <p:spPr>
          <a:xfrm>
            <a:off x="4305734" y="2583935"/>
            <a:ext cx="3754057" cy="30040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txBody>
          <a:bodyPr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Response turnaround reduces to minute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fficient navigation to the answer, no need to peruse FAQ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speed of execution due to easier access to needed information, systems, forms, and other FastTrack processe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p-leveling valuable personnel from route tasks to value-adding activities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701731"/>
          </a:xfrm>
        </p:spPr>
        <p:txBody>
          <a:bodyPr/>
          <a:lstStyle/>
          <a:p>
            <a:r>
              <a:rPr lang="en-US" dirty="0"/>
              <a:t>Advantages of Bot Autom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4305734" y="1685362"/>
            <a:ext cx="3754057" cy="898573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  <a:effectLst/>
        </p:spPr>
        <p:txBody>
          <a:bodyPr rtlCol="0" anchor="ctr">
            <a:noAutofit/>
          </a:bodyPr>
          <a:lstStyle/>
          <a:p>
            <a:endParaRPr lang="en-US" sz="2400" dirty="0">
              <a:solidFill>
                <a:schemeClr val="bg1"/>
              </a:solidFill>
              <a:latin typeface="+mj-lt"/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Faster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  <a:p>
            <a:r>
              <a:rPr lang="en-US" sz="2000" b="1" dirty="0">
                <a:solidFill>
                  <a:schemeClr val="bg1"/>
                </a:solidFill>
                <a:latin typeface="+mj-lt"/>
              </a:rPr>
              <a:t>Time Savings</a:t>
            </a:r>
            <a:br>
              <a:rPr lang="en-US" sz="2400" dirty="0">
                <a:solidFill>
                  <a:schemeClr val="bg1"/>
                </a:solidFill>
                <a:latin typeface="+mj-lt"/>
              </a:rPr>
            </a:b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4067" y="1685362"/>
            <a:ext cx="3754057" cy="898573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  <a:effectLst/>
        </p:spPr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+mj-lt"/>
              </a:rPr>
              <a:t>Better</a:t>
            </a:r>
          </a:p>
          <a:p>
            <a:r>
              <a:rPr lang="en-US" sz="2000" dirty="0">
                <a:solidFill>
                  <a:schemeClr val="bg1"/>
                </a:solidFill>
              </a:rPr>
              <a:t>Improved Accuracy/Compliance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312683" y="1685362"/>
            <a:ext cx="3754057" cy="898573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  <a:effectLst/>
        </p:spPr>
        <p:txBody>
          <a:bodyPr rtlCol="0" anchor="ctr">
            <a:noAutofit/>
          </a:bodyPr>
          <a:lstStyle/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Cheaper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  <a:p>
            <a:r>
              <a:rPr lang="en-US" sz="2000" b="1" dirty="0">
                <a:solidFill>
                  <a:schemeClr val="bg1"/>
                </a:solidFill>
                <a:latin typeface="+mj-lt"/>
              </a:rPr>
              <a:t>Lower Cost To Serve</a:t>
            </a:r>
            <a:r>
              <a:rPr lang="en-US" sz="2400" dirty="0">
                <a:solidFill>
                  <a:schemeClr val="bg1"/>
                </a:solidFill>
                <a:latin typeface="+mj-lt"/>
              </a:rPr>
              <a:t> </a:t>
            </a:r>
            <a:br>
              <a:rPr lang="en-US" sz="2400" dirty="0">
                <a:solidFill>
                  <a:schemeClr val="bg1"/>
                </a:solidFill>
                <a:latin typeface="+mj-lt"/>
              </a:rPr>
            </a:b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Freeform: Shape 11"/>
          <p:cNvSpPr/>
          <p:nvPr/>
        </p:nvSpPr>
        <p:spPr>
          <a:xfrm>
            <a:off x="7573564" y="1730231"/>
            <a:ext cx="444914" cy="444913"/>
          </a:xfrm>
          <a:custGeom>
            <a:avLst/>
            <a:gdLst>
              <a:gd name="connsiteX0" fmla="*/ 2373437 w 4810408"/>
              <a:gd name="connsiteY0" fmla="*/ 3900602 h 4810401"/>
              <a:gd name="connsiteX1" fmla="*/ 2383604 w 4810408"/>
              <a:gd name="connsiteY1" fmla="*/ 3900602 h 4810401"/>
              <a:gd name="connsiteX2" fmla="*/ 2398853 w 4810408"/>
              <a:gd name="connsiteY2" fmla="*/ 3900602 h 4810401"/>
              <a:gd name="connsiteX3" fmla="*/ 2414103 w 4810408"/>
              <a:gd name="connsiteY3" fmla="*/ 3900602 h 4810401"/>
              <a:gd name="connsiteX4" fmla="*/ 2421727 w 4810408"/>
              <a:gd name="connsiteY4" fmla="*/ 3900602 h 4810401"/>
              <a:gd name="connsiteX5" fmla="*/ 2436976 w 4810408"/>
              <a:gd name="connsiteY5" fmla="*/ 3905602 h 4810401"/>
              <a:gd name="connsiteX6" fmla="*/ 2447140 w 4810408"/>
              <a:gd name="connsiteY6" fmla="*/ 3910602 h 4810401"/>
              <a:gd name="connsiteX7" fmla="*/ 2457307 w 4810408"/>
              <a:gd name="connsiteY7" fmla="*/ 3915598 h 4810401"/>
              <a:gd name="connsiteX8" fmla="*/ 2475099 w 4810408"/>
              <a:gd name="connsiteY8" fmla="*/ 3925597 h 4810401"/>
              <a:gd name="connsiteX9" fmla="*/ 2490348 w 4810408"/>
              <a:gd name="connsiteY9" fmla="*/ 3940593 h 4810401"/>
              <a:gd name="connsiteX10" fmla="*/ 2500515 w 4810408"/>
              <a:gd name="connsiteY10" fmla="*/ 3948091 h 4810401"/>
              <a:gd name="connsiteX11" fmla="*/ 2510679 w 4810408"/>
              <a:gd name="connsiteY11" fmla="*/ 3958090 h 4810401"/>
              <a:gd name="connsiteX12" fmla="*/ 2515764 w 4810408"/>
              <a:gd name="connsiteY12" fmla="*/ 3968087 h 4810401"/>
              <a:gd name="connsiteX13" fmla="*/ 2518304 w 4810408"/>
              <a:gd name="connsiteY13" fmla="*/ 3973086 h 4810401"/>
              <a:gd name="connsiteX14" fmla="*/ 2515764 w 4810408"/>
              <a:gd name="connsiteY14" fmla="*/ 4295508 h 4810401"/>
              <a:gd name="connsiteX15" fmla="*/ 2500515 w 4810408"/>
              <a:gd name="connsiteY15" fmla="*/ 4305504 h 4810401"/>
              <a:gd name="connsiteX16" fmla="*/ 2490348 w 4810408"/>
              <a:gd name="connsiteY16" fmla="*/ 4315504 h 4810401"/>
              <a:gd name="connsiteX17" fmla="*/ 2475099 w 4810408"/>
              <a:gd name="connsiteY17" fmla="*/ 4325500 h 4810401"/>
              <a:gd name="connsiteX18" fmla="*/ 2467474 w 4810408"/>
              <a:gd name="connsiteY18" fmla="*/ 4332998 h 4810401"/>
              <a:gd name="connsiteX19" fmla="*/ 2452225 w 4810408"/>
              <a:gd name="connsiteY19" fmla="*/ 4337997 h 4810401"/>
              <a:gd name="connsiteX20" fmla="*/ 2442058 w 4810408"/>
              <a:gd name="connsiteY20" fmla="*/ 4342997 h 4810401"/>
              <a:gd name="connsiteX21" fmla="*/ 2431891 w 4810408"/>
              <a:gd name="connsiteY21" fmla="*/ 4347997 h 4810401"/>
              <a:gd name="connsiteX22" fmla="*/ 2421727 w 4810408"/>
              <a:gd name="connsiteY22" fmla="*/ 4352993 h 4810401"/>
              <a:gd name="connsiteX23" fmla="*/ 2398853 w 4810408"/>
              <a:gd name="connsiteY23" fmla="*/ 4352993 h 4810401"/>
              <a:gd name="connsiteX24" fmla="*/ 2383604 w 4810408"/>
              <a:gd name="connsiteY24" fmla="*/ 4352993 h 4810401"/>
              <a:gd name="connsiteX25" fmla="*/ 2365813 w 4810408"/>
              <a:gd name="connsiteY25" fmla="*/ 4347997 h 4810401"/>
              <a:gd name="connsiteX26" fmla="*/ 2355646 w 4810408"/>
              <a:gd name="connsiteY26" fmla="*/ 4342997 h 4810401"/>
              <a:gd name="connsiteX27" fmla="*/ 2335315 w 4810408"/>
              <a:gd name="connsiteY27" fmla="*/ 4332998 h 4810401"/>
              <a:gd name="connsiteX28" fmla="*/ 2325147 w 4810408"/>
              <a:gd name="connsiteY28" fmla="*/ 4328001 h 4810401"/>
              <a:gd name="connsiteX29" fmla="*/ 2312441 w 4810408"/>
              <a:gd name="connsiteY29" fmla="*/ 4320500 h 4810401"/>
              <a:gd name="connsiteX30" fmla="*/ 2307356 w 4810408"/>
              <a:gd name="connsiteY30" fmla="*/ 4310504 h 4810401"/>
              <a:gd name="connsiteX31" fmla="*/ 2297192 w 4810408"/>
              <a:gd name="connsiteY31" fmla="*/ 4295508 h 4810401"/>
              <a:gd name="connsiteX32" fmla="*/ 2292107 w 4810408"/>
              <a:gd name="connsiteY32" fmla="*/ 4290509 h 4810401"/>
              <a:gd name="connsiteX33" fmla="*/ 2292107 w 4810408"/>
              <a:gd name="connsiteY33" fmla="*/ 3973086 h 4810401"/>
              <a:gd name="connsiteX34" fmla="*/ 2302274 w 4810408"/>
              <a:gd name="connsiteY34" fmla="*/ 3963087 h 4810401"/>
              <a:gd name="connsiteX35" fmla="*/ 2312441 w 4810408"/>
              <a:gd name="connsiteY35" fmla="*/ 3943091 h 4810401"/>
              <a:gd name="connsiteX36" fmla="*/ 2325147 w 4810408"/>
              <a:gd name="connsiteY36" fmla="*/ 3935594 h 4810401"/>
              <a:gd name="connsiteX37" fmla="*/ 2340397 w 4810408"/>
              <a:gd name="connsiteY37" fmla="*/ 3915598 h 4810401"/>
              <a:gd name="connsiteX38" fmla="*/ 2365813 w 4810408"/>
              <a:gd name="connsiteY38" fmla="*/ 3905602 h 4810401"/>
              <a:gd name="connsiteX39" fmla="*/ 3151061 w 4810408"/>
              <a:gd name="connsiteY39" fmla="*/ 3659326 h 4810401"/>
              <a:gd name="connsiteX40" fmla="*/ 3166035 w 4810408"/>
              <a:gd name="connsiteY40" fmla="*/ 3659326 h 4810401"/>
              <a:gd name="connsiteX41" fmla="*/ 3176018 w 4810408"/>
              <a:gd name="connsiteY41" fmla="*/ 3659326 h 4810401"/>
              <a:gd name="connsiteX42" fmla="*/ 3190995 w 4810408"/>
              <a:gd name="connsiteY42" fmla="*/ 3659326 h 4810401"/>
              <a:gd name="connsiteX43" fmla="*/ 3198484 w 4810408"/>
              <a:gd name="connsiteY43" fmla="*/ 3659326 h 4810401"/>
              <a:gd name="connsiteX44" fmla="*/ 3218450 w 4810408"/>
              <a:gd name="connsiteY44" fmla="*/ 3659326 h 4810401"/>
              <a:gd name="connsiteX45" fmla="*/ 3233427 w 4810408"/>
              <a:gd name="connsiteY45" fmla="*/ 3659326 h 4810401"/>
              <a:gd name="connsiteX46" fmla="*/ 3250899 w 4810408"/>
              <a:gd name="connsiteY46" fmla="*/ 3669380 h 4810401"/>
              <a:gd name="connsiteX47" fmla="*/ 3428110 w 4810408"/>
              <a:gd name="connsiteY47" fmla="*/ 3950867 h 4810401"/>
              <a:gd name="connsiteX48" fmla="*/ 3423119 w 4810408"/>
              <a:gd name="connsiteY48" fmla="*/ 3950867 h 4810401"/>
              <a:gd name="connsiteX49" fmla="*/ 3423119 w 4810408"/>
              <a:gd name="connsiteY49" fmla="*/ 3960920 h 4810401"/>
              <a:gd name="connsiteX50" fmla="*/ 3423119 w 4810408"/>
              <a:gd name="connsiteY50" fmla="*/ 3970973 h 4810401"/>
              <a:gd name="connsiteX51" fmla="*/ 3418126 w 4810408"/>
              <a:gd name="connsiteY51" fmla="*/ 3988565 h 4810401"/>
              <a:gd name="connsiteX52" fmla="*/ 3408143 w 4810408"/>
              <a:gd name="connsiteY52" fmla="*/ 4008672 h 4810401"/>
              <a:gd name="connsiteX53" fmla="*/ 3403149 w 4810408"/>
              <a:gd name="connsiteY53" fmla="*/ 4028778 h 4810401"/>
              <a:gd name="connsiteX54" fmla="*/ 3390671 w 4810408"/>
              <a:gd name="connsiteY54" fmla="*/ 4041345 h 4810401"/>
              <a:gd name="connsiteX55" fmla="*/ 3370704 w 4810408"/>
              <a:gd name="connsiteY55" fmla="*/ 4066480 h 4810401"/>
              <a:gd name="connsiteX56" fmla="*/ 3360720 w 4810408"/>
              <a:gd name="connsiteY56" fmla="*/ 4066480 h 4810401"/>
              <a:gd name="connsiteX57" fmla="*/ 3345744 w 4810408"/>
              <a:gd name="connsiteY57" fmla="*/ 4076533 h 4810401"/>
              <a:gd name="connsiteX58" fmla="*/ 3338255 w 4810408"/>
              <a:gd name="connsiteY58" fmla="*/ 4076533 h 4810401"/>
              <a:gd name="connsiteX59" fmla="*/ 3328272 w 4810408"/>
              <a:gd name="connsiteY59" fmla="*/ 4081558 h 4810401"/>
              <a:gd name="connsiteX60" fmla="*/ 3313298 w 4810408"/>
              <a:gd name="connsiteY60" fmla="*/ 4081558 h 4810401"/>
              <a:gd name="connsiteX61" fmla="*/ 3303312 w 4810408"/>
              <a:gd name="connsiteY61" fmla="*/ 4081558 h 4810401"/>
              <a:gd name="connsiteX62" fmla="*/ 3290833 w 4810408"/>
              <a:gd name="connsiteY62" fmla="*/ 4076533 h 4810401"/>
              <a:gd name="connsiteX63" fmla="*/ 3280850 w 4810408"/>
              <a:gd name="connsiteY63" fmla="*/ 4076533 h 4810401"/>
              <a:gd name="connsiteX64" fmla="*/ 3260883 w 4810408"/>
              <a:gd name="connsiteY64" fmla="*/ 4066480 h 4810401"/>
              <a:gd name="connsiteX65" fmla="*/ 3245906 w 4810408"/>
              <a:gd name="connsiteY65" fmla="*/ 4061451 h 4810401"/>
              <a:gd name="connsiteX66" fmla="*/ 3238417 w 4810408"/>
              <a:gd name="connsiteY66" fmla="*/ 4056426 h 4810401"/>
              <a:gd name="connsiteX67" fmla="*/ 3233427 w 4810408"/>
              <a:gd name="connsiteY67" fmla="*/ 4056426 h 4810401"/>
              <a:gd name="connsiteX68" fmla="*/ 3071190 w 4810408"/>
              <a:gd name="connsiteY68" fmla="*/ 3790017 h 4810401"/>
              <a:gd name="connsiteX69" fmla="*/ 3066197 w 4810408"/>
              <a:gd name="connsiteY69" fmla="*/ 3784992 h 4810401"/>
              <a:gd name="connsiteX70" fmla="*/ 3066197 w 4810408"/>
              <a:gd name="connsiteY70" fmla="*/ 3779964 h 4810401"/>
              <a:gd name="connsiteX71" fmla="*/ 3066197 w 4810408"/>
              <a:gd name="connsiteY71" fmla="*/ 3769911 h 4810401"/>
              <a:gd name="connsiteX72" fmla="*/ 3071190 w 4810408"/>
              <a:gd name="connsiteY72" fmla="*/ 3759858 h 4810401"/>
              <a:gd name="connsiteX73" fmla="*/ 3071190 w 4810408"/>
              <a:gd name="connsiteY73" fmla="*/ 3744780 h 4810401"/>
              <a:gd name="connsiteX74" fmla="*/ 3076181 w 4810408"/>
              <a:gd name="connsiteY74" fmla="*/ 3737237 h 4810401"/>
              <a:gd name="connsiteX75" fmla="*/ 3081174 w 4810408"/>
              <a:gd name="connsiteY75" fmla="*/ 3722159 h 4810401"/>
              <a:gd name="connsiteX76" fmla="*/ 3091157 w 4810408"/>
              <a:gd name="connsiteY76" fmla="*/ 3712106 h 4810401"/>
              <a:gd name="connsiteX77" fmla="*/ 3098646 w 4810408"/>
              <a:gd name="connsiteY77" fmla="*/ 3697025 h 4810401"/>
              <a:gd name="connsiteX78" fmla="*/ 3108629 w 4810408"/>
              <a:gd name="connsiteY78" fmla="*/ 3684461 h 4810401"/>
              <a:gd name="connsiteX79" fmla="*/ 3123606 w 4810408"/>
              <a:gd name="connsiteY79" fmla="*/ 3674408 h 4810401"/>
              <a:gd name="connsiteX80" fmla="*/ 3143573 w 4810408"/>
              <a:gd name="connsiteY80" fmla="*/ 3664355 h 4810401"/>
              <a:gd name="connsiteX81" fmla="*/ 1637371 w 4810408"/>
              <a:gd name="connsiteY81" fmla="*/ 3659326 h 4810401"/>
              <a:gd name="connsiteX82" fmla="*/ 1657335 w 4810408"/>
              <a:gd name="connsiteY82" fmla="*/ 3659326 h 4810401"/>
              <a:gd name="connsiteX83" fmla="*/ 1667316 w 4810408"/>
              <a:gd name="connsiteY83" fmla="*/ 3659326 h 4810401"/>
              <a:gd name="connsiteX84" fmla="*/ 1684784 w 4810408"/>
              <a:gd name="connsiteY84" fmla="*/ 3659326 h 4810401"/>
              <a:gd name="connsiteX85" fmla="*/ 1694768 w 4810408"/>
              <a:gd name="connsiteY85" fmla="*/ 3659326 h 4810401"/>
              <a:gd name="connsiteX86" fmla="*/ 1709738 w 4810408"/>
              <a:gd name="connsiteY86" fmla="*/ 3659326 h 4810401"/>
              <a:gd name="connsiteX87" fmla="*/ 1719722 w 4810408"/>
              <a:gd name="connsiteY87" fmla="*/ 3659326 h 4810401"/>
              <a:gd name="connsiteX88" fmla="*/ 1729702 w 4810408"/>
              <a:gd name="connsiteY88" fmla="*/ 3664355 h 4810401"/>
              <a:gd name="connsiteX89" fmla="*/ 1747171 w 4810408"/>
              <a:gd name="connsiteY89" fmla="*/ 3674408 h 4810401"/>
              <a:gd name="connsiteX90" fmla="*/ 1762144 w 4810408"/>
              <a:gd name="connsiteY90" fmla="*/ 3684461 h 4810401"/>
              <a:gd name="connsiteX91" fmla="*/ 1777118 w 4810408"/>
              <a:gd name="connsiteY91" fmla="*/ 3697025 h 4810401"/>
              <a:gd name="connsiteX92" fmla="*/ 1784603 w 4810408"/>
              <a:gd name="connsiteY92" fmla="*/ 3712106 h 4810401"/>
              <a:gd name="connsiteX93" fmla="*/ 1789593 w 4810408"/>
              <a:gd name="connsiteY93" fmla="*/ 3722159 h 4810401"/>
              <a:gd name="connsiteX94" fmla="*/ 1799577 w 4810408"/>
              <a:gd name="connsiteY94" fmla="*/ 3737237 h 4810401"/>
              <a:gd name="connsiteX95" fmla="*/ 1799577 w 4810408"/>
              <a:gd name="connsiteY95" fmla="*/ 3744780 h 4810401"/>
              <a:gd name="connsiteX96" fmla="*/ 1804567 w 4810408"/>
              <a:gd name="connsiteY96" fmla="*/ 3759858 h 4810401"/>
              <a:gd name="connsiteX97" fmla="*/ 1804567 w 4810408"/>
              <a:gd name="connsiteY97" fmla="*/ 3769911 h 4810401"/>
              <a:gd name="connsiteX98" fmla="*/ 1804567 w 4810408"/>
              <a:gd name="connsiteY98" fmla="*/ 3779964 h 4810401"/>
              <a:gd name="connsiteX99" fmla="*/ 1804567 w 4810408"/>
              <a:gd name="connsiteY99" fmla="*/ 3784992 h 4810401"/>
              <a:gd name="connsiteX100" fmla="*/ 1809557 w 4810408"/>
              <a:gd name="connsiteY100" fmla="*/ 3790017 h 4810401"/>
              <a:gd name="connsiteX101" fmla="*/ 1642362 w 4810408"/>
              <a:gd name="connsiteY101" fmla="*/ 4056426 h 4810401"/>
              <a:gd name="connsiteX102" fmla="*/ 1637371 w 4810408"/>
              <a:gd name="connsiteY102" fmla="*/ 4056426 h 4810401"/>
              <a:gd name="connsiteX103" fmla="*/ 1629886 w 4810408"/>
              <a:gd name="connsiteY103" fmla="*/ 4061451 h 4810401"/>
              <a:gd name="connsiteX104" fmla="*/ 1614913 w 4810408"/>
              <a:gd name="connsiteY104" fmla="*/ 4066480 h 4810401"/>
              <a:gd name="connsiteX105" fmla="*/ 1594949 w 4810408"/>
              <a:gd name="connsiteY105" fmla="*/ 4076533 h 4810401"/>
              <a:gd name="connsiteX106" fmla="*/ 1587464 w 4810408"/>
              <a:gd name="connsiteY106" fmla="*/ 4076533 h 4810401"/>
              <a:gd name="connsiteX107" fmla="*/ 1572490 w 4810408"/>
              <a:gd name="connsiteY107" fmla="*/ 4081558 h 4810401"/>
              <a:gd name="connsiteX108" fmla="*/ 1562507 w 4810408"/>
              <a:gd name="connsiteY108" fmla="*/ 4081558 h 4810401"/>
              <a:gd name="connsiteX109" fmla="*/ 1552526 w 4810408"/>
              <a:gd name="connsiteY109" fmla="*/ 4081558 h 4810401"/>
              <a:gd name="connsiteX110" fmla="*/ 1540048 w 4810408"/>
              <a:gd name="connsiteY110" fmla="*/ 4076533 h 4810401"/>
              <a:gd name="connsiteX111" fmla="*/ 1530067 w 4810408"/>
              <a:gd name="connsiteY111" fmla="*/ 4076533 h 4810401"/>
              <a:gd name="connsiteX112" fmla="*/ 1520084 w 4810408"/>
              <a:gd name="connsiteY112" fmla="*/ 4066480 h 4810401"/>
              <a:gd name="connsiteX113" fmla="*/ 1510104 w 4810408"/>
              <a:gd name="connsiteY113" fmla="*/ 4066480 h 4810401"/>
              <a:gd name="connsiteX114" fmla="*/ 1490140 w 4810408"/>
              <a:gd name="connsiteY114" fmla="*/ 4041345 h 4810401"/>
              <a:gd name="connsiteX115" fmla="*/ 1477661 w 4810408"/>
              <a:gd name="connsiteY115" fmla="*/ 4028778 h 4810401"/>
              <a:gd name="connsiteX116" fmla="*/ 1467681 w 4810408"/>
              <a:gd name="connsiteY116" fmla="*/ 4008672 h 4810401"/>
              <a:gd name="connsiteX117" fmla="*/ 1462688 w 4810408"/>
              <a:gd name="connsiteY117" fmla="*/ 3988565 h 4810401"/>
              <a:gd name="connsiteX118" fmla="*/ 1457698 w 4810408"/>
              <a:gd name="connsiteY118" fmla="*/ 3970973 h 4810401"/>
              <a:gd name="connsiteX119" fmla="*/ 1457698 w 4810408"/>
              <a:gd name="connsiteY119" fmla="*/ 3960920 h 4810401"/>
              <a:gd name="connsiteX120" fmla="*/ 1457698 w 4810408"/>
              <a:gd name="connsiteY120" fmla="*/ 3950867 h 4810401"/>
              <a:gd name="connsiteX121" fmla="*/ 1624893 w 4810408"/>
              <a:gd name="connsiteY121" fmla="*/ 3669380 h 4810401"/>
              <a:gd name="connsiteX122" fmla="*/ 3774940 w 4810408"/>
              <a:gd name="connsiteY122" fmla="*/ 3076246 h 4810401"/>
              <a:gd name="connsiteX123" fmla="*/ 3792535 w 4810408"/>
              <a:gd name="connsiteY123" fmla="*/ 3076246 h 4810401"/>
              <a:gd name="connsiteX124" fmla="*/ 4056430 w 4810408"/>
              <a:gd name="connsiteY124" fmla="*/ 3265938 h 4810401"/>
              <a:gd name="connsiteX125" fmla="*/ 4061455 w 4810408"/>
              <a:gd name="connsiteY125" fmla="*/ 3280915 h 4810401"/>
              <a:gd name="connsiteX126" fmla="*/ 4066483 w 4810408"/>
              <a:gd name="connsiteY126" fmla="*/ 3290899 h 4810401"/>
              <a:gd name="connsiteX127" fmla="*/ 4071508 w 4810408"/>
              <a:gd name="connsiteY127" fmla="*/ 3308371 h 4810401"/>
              <a:gd name="connsiteX128" fmla="*/ 4071508 w 4810408"/>
              <a:gd name="connsiteY128" fmla="*/ 3313361 h 4810401"/>
              <a:gd name="connsiteX129" fmla="*/ 4071508 w 4810408"/>
              <a:gd name="connsiteY129" fmla="*/ 3328337 h 4810401"/>
              <a:gd name="connsiteX130" fmla="*/ 4071508 w 4810408"/>
              <a:gd name="connsiteY130" fmla="*/ 3338321 h 4810401"/>
              <a:gd name="connsiteX131" fmla="*/ 4071508 w 4810408"/>
              <a:gd name="connsiteY131" fmla="*/ 3348304 h 4810401"/>
              <a:gd name="connsiteX132" fmla="*/ 4066483 w 4810408"/>
              <a:gd name="connsiteY132" fmla="*/ 3360786 h 4810401"/>
              <a:gd name="connsiteX133" fmla="*/ 4061455 w 4810408"/>
              <a:gd name="connsiteY133" fmla="*/ 3370770 h 4810401"/>
              <a:gd name="connsiteX134" fmla="*/ 4056430 w 4810408"/>
              <a:gd name="connsiteY134" fmla="*/ 3380753 h 4810401"/>
              <a:gd name="connsiteX135" fmla="*/ 4056430 w 4810408"/>
              <a:gd name="connsiteY135" fmla="*/ 3395730 h 4810401"/>
              <a:gd name="connsiteX136" fmla="*/ 4046377 w 4810408"/>
              <a:gd name="connsiteY136" fmla="*/ 3403215 h 4810401"/>
              <a:gd name="connsiteX137" fmla="*/ 4036324 w 4810408"/>
              <a:gd name="connsiteY137" fmla="*/ 3413198 h 4810401"/>
              <a:gd name="connsiteX138" fmla="*/ 4026271 w 4810408"/>
              <a:gd name="connsiteY138" fmla="*/ 3418192 h 4810401"/>
              <a:gd name="connsiteX139" fmla="*/ 4018729 w 4810408"/>
              <a:gd name="connsiteY139" fmla="*/ 3423185 h 4810401"/>
              <a:gd name="connsiteX140" fmla="*/ 4008676 w 4810408"/>
              <a:gd name="connsiteY140" fmla="*/ 3428175 h 4810401"/>
              <a:gd name="connsiteX141" fmla="*/ 3998622 w 4810408"/>
              <a:gd name="connsiteY141" fmla="*/ 3433169 h 4810401"/>
              <a:gd name="connsiteX142" fmla="*/ 3983544 w 4810408"/>
              <a:gd name="connsiteY142" fmla="*/ 3433169 h 4810401"/>
              <a:gd name="connsiteX143" fmla="*/ 3976005 w 4810408"/>
              <a:gd name="connsiteY143" fmla="*/ 3438159 h 4810401"/>
              <a:gd name="connsiteX144" fmla="*/ 3965952 w 4810408"/>
              <a:gd name="connsiteY144" fmla="*/ 3438159 h 4810401"/>
              <a:gd name="connsiteX145" fmla="*/ 3950871 w 4810408"/>
              <a:gd name="connsiteY145" fmla="*/ 3438159 h 4810401"/>
              <a:gd name="connsiteX146" fmla="*/ 3940818 w 4810408"/>
              <a:gd name="connsiteY146" fmla="*/ 3438159 h 4810401"/>
              <a:gd name="connsiteX147" fmla="*/ 3935793 w 4810408"/>
              <a:gd name="connsiteY147" fmla="*/ 3438159 h 4810401"/>
              <a:gd name="connsiteX148" fmla="*/ 3928251 w 4810408"/>
              <a:gd name="connsiteY148" fmla="*/ 3438159 h 4810401"/>
              <a:gd name="connsiteX149" fmla="*/ 3923226 w 4810408"/>
              <a:gd name="connsiteY149" fmla="*/ 3438159 h 4810401"/>
              <a:gd name="connsiteX150" fmla="*/ 3669383 w 4810408"/>
              <a:gd name="connsiteY150" fmla="*/ 3258450 h 4810401"/>
              <a:gd name="connsiteX151" fmla="*/ 3664355 w 4810408"/>
              <a:gd name="connsiteY151" fmla="*/ 3253460 h 4810401"/>
              <a:gd name="connsiteX152" fmla="*/ 3664355 w 4810408"/>
              <a:gd name="connsiteY152" fmla="*/ 3248467 h 4810401"/>
              <a:gd name="connsiteX153" fmla="*/ 3659330 w 4810408"/>
              <a:gd name="connsiteY153" fmla="*/ 3238483 h 4810401"/>
              <a:gd name="connsiteX154" fmla="*/ 3659330 w 4810408"/>
              <a:gd name="connsiteY154" fmla="*/ 3228500 h 4810401"/>
              <a:gd name="connsiteX155" fmla="*/ 3654302 w 4810408"/>
              <a:gd name="connsiteY155" fmla="*/ 3218516 h 4810401"/>
              <a:gd name="connsiteX156" fmla="*/ 3654302 w 4810408"/>
              <a:gd name="connsiteY156" fmla="*/ 3206038 h 4810401"/>
              <a:gd name="connsiteX157" fmla="*/ 3654302 w 4810408"/>
              <a:gd name="connsiteY157" fmla="*/ 3191061 h 4810401"/>
              <a:gd name="connsiteX158" fmla="*/ 3659330 w 4810408"/>
              <a:gd name="connsiteY158" fmla="*/ 3176084 h 4810401"/>
              <a:gd name="connsiteX159" fmla="*/ 3659330 w 4810408"/>
              <a:gd name="connsiteY159" fmla="*/ 3158612 h 4810401"/>
              <a:gd name="connsiteX160" fmla="*/ 3669383 w 4810408"/>
              <a:gd name="connsiteY160" fmla="*/ 3143639 h 4810401"/>
              <a:gd name="connsiteX161" fmla="*/ 3679437 w 4810408"/>
              <a:gd name="connsiteY161" fmla="*/ 3128662 h 4810401"/>
              <a:gd name="connsiteX162" fmla="*/ 3692004 w 4810408"/>
              <a:gd name="connsiteY162" fmla="*/ 3116183 h 4810401"/>
              <a:gd name="connsiteX163" fmla="*/ 3697029 w 4810408"/>
              <a:gd name="connsiteY163" fmla="*/ 3111190 h 4810401"/>
              <a:gd name="connsiteX164" fmla="*/ 3712110 w 4810408"/>
              <a:gd name="connsiteY164" fmla="*/ 3106200 h 4810401"/>
              <a:gd name="connsiteX165" fmla="*/ 3722163 w 4810408"/>
              <a:gd name="connsiteY165" fmla="*/ 3096213 h 4810401"/>
              <a:gd name="connsiteX166" fmla="*/ 3732216 w 4810408"/>
              <a:gd name="connsiteY166" fmla="*/ 3091223 h 4810401"/>
              <a:gd name="connsiteX167" fmla="*/ 3744780 w 4810408"/>
              <a:gd name="connsiteY167" fmla="*/ 3086230 h 4810401"/>
              <a:gd name="connsiteX168" fmla="*/ 3759862 w 4810408"/>
              <a:gd name="connsiteY168" fmla="*/ 3081240 h 4810401"/>
              <a:gd name="connsiteX169" fmla="*/ 1083217 w 4810408"/>
              <a:gd name="connsiteY169" fmla="*/ 3076246 h 4810401"/>
              <a:gd name="connsiteX170" fmla="*/ 1098295 w 4810408"/>
              <a:gd name="connsiteY170" fmla="*/ 3076246 h 4810401"/>
              <a:gd name="connsiteX171" fmla="*/ 1110862 w 4810408"/>
              <a:gd name="connsiteY171" fmla="*/ 3081240 h 4810401"/>
              <a:gd name="connsiteX172" fmla="*/ 1125944 w 4810408"/>
              <a:gd name="connsiteY172" fmla="*/ 3086230 h 4810401"/>
              <a:gd name="connsiteX173" fmla="*/ 1141022 w 4810408"/>
              <a:gd name="connsiteY173" fmla="*/ 3091223 h 4810401"/>
              <a:gd name="connsiteX174" fmla="*/ 1153589 w 4810408"/>
              <a:gd name="connsiteY174" fmla="*/ 3096213 h 4810401"/>
              <a:gd name="connsiteX175" fmla="*/ 1163642 w 4810408"/>
              <a:gd name="connsiteY175" fmla="*/ 3106200 h 4810401"/>
              <a:gd name="connsiteX176" fmla="*/ 1173695 w 4810408"/>
              <a:gd name="connsiteY176" fmla="*/ 3111190 h 4810401"/>
              <a:gd name="connsiteX177" fmla="*/ 1183748 w 4810408"/>
              <a:gd name="connsiteY177" fmla="*/ 3116183 h 4810401"/>
              <a:gd name="connsiteX178" fmla="*/ 1193801 w 4810408"/>
              <a:gd name="connsiteY178" fmla="*/ 3128662 h 4810401"/>
              <a:gd name="connsiteX179" fmla="*/ 1206369 w 4810408"/>
              <a:gd name="connsiteY179" fmla="*/ 3143639 h 4810401"/>
              <a:gd name="connsiteX180" fmla="*/ 1211394 w 4810408"/>
              <a:gd name="connsiteY180" fmla="*/ 3158612 h 4810401"/>
              <a:gd name="connsiteX181" fmla="*/ 1216422 w 4810408"/>
              <a:gd name="connsiteY181" fmla="*/ 3176084 h 4810401"/>
              <a:gd name="connsiteX182" fmla="*/ 1216422 w 4810408"/>
              <a:gd name="connsiteY182" fmla="*/ 3191061 h 4810401"/>
              <a:gd name="connsiteX183" fmla="*/ 1221447 w 4810408"/>
              <a:gd name="connsiteY183" fmla="*/ 3206038 h 4810401"/>
              <a:gd name="connsiteX184" fmla="*/ 1216422 w 4810408"/>
              <a:gd name="connsiteY184" fmla="*/ 3218516 h 4810401"/>
              <a:gd name="connsiteX185" fmla="*/ 1216422 w 4810408"/>
              <a:gd name="connsiteY185" fmla="*/ 3228500 h 4810401"/>
              <a:gd name="connsiteX186" fmla="*/ 1211394 w 4810408"/>
              <a:gd name="connsiteY186" fmla="*/ 3238483 h 4810401"/>
              <a:gd name="connsiteX187" fmla="*/ 1211394 w 4810408"/>
              <a:gd name="connsiteY187" fmla="*/ 3248467 h 4810401"/>
              <a:gd name="connsiteX188" fmla="*/ 1211394 w 4810408"/>
              <a:gd name="connsiteY188" fmla="*/ 3253460 h 4810401"/>
              <a:gd name="connsiteX189" fmla="*/ 1211394 w 4810408"/>
              <a:gd name="connsiteY189" fmla="*/ 3258450 h 4810401"/>
              <a:gd name="connsiteX190" fmla="*/ 957551 w 4810408"/>
              <a:gd name="connsiteY190" fmla="*/ 3438159 h 4810401"/>
              <a:gd name="connsiteX191" fmla="*/ 950012 w 4810408"/>
              <a:gd name="connsiteY191" fmla="*/ 3438159 h 4810401"/>
              <a:gd name="connsiteX192" fmla="*/ 939959 w 4810408"/>
              <a:gd name="connsiteY192" fmla="*/ 3438159 h 4810401"/>
              <a:gd name="connsiteX193" fmla="*/ 919853 w 4810408"/>
              <a:gd name="connsiteY193" fmla="*/ 3438159 h 4810401"/>
              <a:gd name="connsiteX194" fmla="*/ 904775 w 4810408"/>
              <a:gd name="connsiteY194" fmla="*/ 3438159 h 4810401"/>
              <a:gd name="connsiteX195" fmla="*/ 892208 w 4810408"/>
              <a:gd name="connsiteY195" fmla="*/ 3433169 h 4810401"/>
              <a:gd name="connsiteX196" fmla="*/ 882155 w 4810408"/>
              <a:gd name="connsiteY196" fmla="*/ 3433169 h 4810401"/>
              <a:gd name="connsiteX197" fmla="*/ 872101 w 4810408"/>
              <a:gd name="connsiteY197" fmla="*/ 3428175 h 4810401"/>
              <a:gd name="connsiteX198" fmla="*/ 862048 w 4810408"/>
              <a:gd name="connsiteY198" fmla="*/ 3423185 h 4810401"/>
              <a:gd name="connsiteX199" fmla="*/ 849481 w 4810408"/>
              <a:gd name="connsiteY199" fmla="*/ 3418192 h 4810401"/>
              <a:gd name="connsiteX200" fmla="*/ 844456 w 4810408"/>
              <a:gd name="connsiteY200" fmla="*/ 3413198 h 4810401"/>
              <a:gd name="connsiteX201" fmla="*/ 834403 w 4810408"/>
              <a:gd name="connsiteY201" fmla="*/ 3403215 h 4810401"/>
              <a:gd name="connsiteX202" fmla="*/ 829375 w 4810408"/>
              <a:gd name="connsiteY202" fmla="*/ 3395730 h 4810401"/>
              <a:gd name="connsiteX203" fmla="*/ 819322 w 4810408"/>
              <a:gd name="connsiteY203" fmla="*/ 3380753 h 4810401"/>
              <a:gd name="connsiteX204" fmla="*/ 814297 w 4810408"/>
              <a:gd name="connsiteY204" fmla="*/ 3370770 h 4810401"/>
              <a:gd name="connsiteX205" fmla="*/ 814297 w 4810408"/>
              <a:gd name="connsiteY205" fmla="*/ 3360786 h 4810401"/>
              <a:gd name="connsiteX206" fmla="*/ 809269 w 4810408"/>
              <a:gd name="connsiteY206" fmla="*/ 3348304 h 4810401"/>
              <a:gd name="connsiteX207" fmla="*/ 809269 w 4810408"/>
              <a:gd name="connsiteY207" fmla="*/ 3338321 h 4810401"/>
              <a:gd name="connsiteX208" fmla="*/ 809269 w 4810408"/>
              <a:gd name="connsiteY208" fmla="*/ 3328337 h 4810401"/>
              <a:gd name="connsiteX209" fmla="*/ 809269 w 4810408"/>
              <a:gd name="connsiteY209" fmla="*/ 3313361 h 4810401"/>
              <a:gd name="connsiteX210" fmla="*/ 809269 w 4810408"/>
              <a:gd name="connsiteY210" fmla="*/ 3308371 h 4810401"/>
              <a:gd name="connsiteX211" fmla="*/ 809269 w 4810408"/>
              <a:gd name="connsiteY211" fmla="*/ 3290899 h 4810401"/>
              <a:gd name="connsiteX212" fmla="*/ 814297 w 4810408"/>
              <a:gd name="connsiteY212" fmla="*/ 3280915 h 4810401"/>
              <a:gd name="connsiteX213" fmla="*/ 814297 w 4810408"/>
              <a:gd name="connsiteY213" fmla="*/ 3265938 h 4810401"/>
              <a:gd name="connsiteX214" fmla="*/ 819322 w 4810408"/>
              <a:gd name="connsiteY214" fmla="*/ 3265938 h 4810401"/>
              <a:gd name="connsiteX215" fmla="*/ 650509 w 4810408"/>
              <a:gd name="connsiteY215" fmla="*/ 2294616 h 4810401"/>
              <a:gd name="connsiteX216" fmla="*/ 962954 w 4810408"/>
              <a:gd name="connsiteY216" fmla="*/ 2294616 h 4810401"/>
              <a:gd name="connsiteX217" fmla="*/ 967954 w 4810408"/>
              <a:gd name="connsiteY217" fmla="*/ 2294616 h 4810401"/>
              <a:gd name="connsiteX218" fmla="*/ 982950 w 4810408"/>
              <a:gd name="connsiteY218" fmla="*/ 2309362 h 4810401"/>
              <a:gd name="connsiteX219" fmla="*/ 992949 w 4810408"/>
              <a:gd name="connsiteY219" fmla="*/ 2314276 h 4810401"/>
              <a:gd name="connsiteX220" fmla="*/ 1000447 w 4810408"/>
              <a:gd name="connsiteY220" fmla="*/ 2324108 h 4810401"/>
              <a:gd name="connsiteX221" fmla="*/ 1005446 w 4810408"/>
              <a:gd name="connsiteY221" fmla="*/ 2333936 h 4810401"/>
              <a:gd name="connsiteX222" fmla="*/ 1020445 w 4810408"/>
              <a:gd name="connsiteY222" fmla="*/ 2351139 h 4810401"/>
              <a:gd name="connsiteX223" fmla="*/ 1020445 w 4810408"/>
              <a:gd name="connsiteY223" fmla="*/ 2365881 h 4810401"/>
              <a:gd name="connsiteX224" fmla="*/ 1030442 w 4810408"/>
              <a:gd name="connsiteY224" fmla="*/ 2380627 h 4810401"/>
              <a:gd name="connsiteX225" fmla="*/ 1025442 w 4810408"/>
              <a:gd name="connsiteY225" fmla="*/ 2397829 h 4810401"/>
              <a:gd name="connsiteX226" fmla="*/ 1025442 w 4810408"/>
              <a:gd name="connsiteY226" fmla="*/ 2417489 h 4810401"/>
              <a:gd name="connsiteX227" fmla="*/ 1020445 w 4810408"/>
              <a:gd name="connsiteY227" fmla="*/ 2427318 h 4810401"/>
              <a:gd name="connsiteX228" fmla="*/ 1020445 w 4810408"/>
              <a:gd name="connsiteY228" fmla="*/ 2437149 h 4810401"/>
              <a:gd name="connsiteX229" fmla="*/ 1015446 w 4810408"/>
              <a:gd name="connsiteY229" fmla="*/ 2444520 h 4810401"/>
              <a:gd name="connsiteX230" fmla="*/ 1005446 w 4810408"/>
              <a:gd name="connsiteY230" fmla="*/ 2459266 h 4810401"/>
              <a:gd name="connsiteX231" fmla="*/ 1000447 w 4810408"/>
              <a:gd name="connsiteY231" fmla="*/ 2469094 h 4810401"/>
              <a:gd name="connsiteX232" fmla="*/ 992949 w 4810408"/>
              <a:gd name="connsiteY232" fmla="*/ 2483840 h 4810401"/>
              <a:gd name="connsiteX233" fmla="*/ 982950 w 4810408"/>
              <a:gd name="connsiteY233" fmla="*/ 2496125 h 4810401"/>
              <a:gd name="connsiteX234" fmla="*/ 972953 w 4810408"/>
              <a:gd name="connsiteY234" fmla="*/ 2505957 h 4810401"/>
              <a:gd name="connsiteX235" fmla="*/ 650509 w 4810408"/>
              <a:gd name="connsiteY235" fmla="*/ 2515785 h 4810401"/>
              <a:gd name="connsiteX236" fmla="*/ 645510 w 4810408"/>
              <a:gd name="connsiteY236" fmla="*/ 2510871 h 4810401"/>
              <a:gd name="connsiteX237" fmla="*/ 635514 w 4810408"/>
              <a:gd name="connsiteY237" fmla="*/ 2505957 h 4810401"/>
              <a:gd name="connsiteX238" fmla="*/ 625514 w 4810408"/>
              <a:gd name="connsiteY238" fmla="*/ 2496125 h 4810401"/>
              <a:gd name="connsiteX239" fmla="*/ 613017 w 4810408"/>
              <a:gd name="connsiteY239" fmla="*/ 2486297 h 4810401"/>
              <a:gd name="connsiteX240" fmla="*/ 603018 w 4810408"/>
              <a:gd name="connsiteY240" fmla="*/ 2469094 h 4810401"/>
              <a:gd name="connsiteX241" fmla="*/ 588022 w 4810408"/>
              <a:gd name="connsiteY241" fmla="*/ 2449434 h 4810401"/>
              <a:gd name="connsiteX242" fmla="*/ 583022 w 4810408"/>
              <a:gd name="connsiteY242" fmla="*/ 2439606 h 4810401"/>
              <a:gd name="connsiteX243" fmla="*/ 578023 w 4810408"/>
              <a:gd name="connsiteY243" fmla="*/ 2432232 h 4810401"/>
              <a:gd name="connsiteX244" fmla="*/ 573023 w 4810408"/>
              <a:gd name="connsiteY244" fmla="*/ 2417489 h 4810401"/>
              <a:gd name="connsiteX245" fmla="*/ 573023 w 4810408"/>
              <a:gd name="connsiteY245" fmla="*/ 2407658 h 4810401"/>
              <a:gd name="connsiteX246" fmla="*/ 573023 w 4810408"/>
              <a:gd name="connsiteY246" fmla="*/ 2392915 h 4810401"/>
              <a:gd name="connsiteX247" fmla="*/ 573023 w 4810408"/>
              <a:gd name="connsiteY247" fmla="*/ 2380627 h 4810401"/>
              <a:gd name="connsiteX248" fmla="*/ 578023 w 4810408"/>
              <a:gd name="connsiteY248" fmla="*/ 2370798 h 4810401"/>
              <a:gd name="connsiteX249" fmla="*/ 583022 w 4810408"/>
              <a:gd name="connsiteY249" fmla="*/ 2360967 h 4810401"/>
              <a:gd name="connsiteX250" fmla="*/ 593021 w 4810408"/>
              <a:gd name="connsiteY250" fmla="*/ 2343764 h 4810401"/>
              <a:gd name="connsiteX251" fmla="*/ 613017 w 4810408"/>
              <a:gd name="connsiteY251" fmla="*/ 2324108 h 4810401"/>
              <a:gd name="connsiteX252" fmla="*/ 620515 w 4810408"/>
              <a:gd name="connsiteY252" fmla="*/ 2309362 h 4810401"/>
              <a:gd name="connsiteX253" fmla="*/ 640510 w 4810408"/>
              <a:gd name="connsiteY253" fmla="*/ 2299530 h 4810401"/>
              <a:gd name="connsiteX254" fmla="*/ 3918197 w 4810408"/>
              <a:gd name="connsiteY254" fmla="*/ 1397374 h 4810401"/>
              <a:gd name="connsiteX255" fmla="*/ 3923226 w 4810408"/>
              <a:gd name="connsiteY255" fmla="*/ 1397374 h 4810401"/>
              <a:gd name="connsiteX256" fmla="*/ 3930765 w 4810408"/>
              <a:gd name="connsiteY256" fmla="*/ 1397374 h 4810401"/>
              <a:gd name="connsiteX257" fmla="*/ 3935793 w 4810408"/>
              <a:gd name="connsiteY257" fmla="*/ 1397374 h 4810401"/>
              <a:gd name="connsiteX258" fmla="*/ 3945846 w 4810408"/>
              <a:gd name="connsiteY258" fmla="*/ 1397374 h 4810401"/>
              <a:gd name="connsiteX259" fmla="*/ 3955899 w 4810408"/>
              <a:gd name="connsiteY259" fmla="*/ 1397374 h 4810401"/>
              <a:gd name="connsiteX260" fmla="*/ 3970977 w 4810408"/>
              <a:gd name="connsiteY260" fmla="*/ 1397374 h 4810401"/>
              <a:gd name="connsiteX261" fmla="*/ 3978516 w 4810408"/>
              <a:gd name="connsiteY261" fmla="*/ 1397374 h 4810401"/>
              <a:gd name="connsiteX262" fmla="*/ 3988569 w 4810408"/>
              <a:gd name="connsiteY262" fmla="*/ 1402402 h 4810401"/>
              <a:gd name="connsiteX263" fmla="*/ 3998622 w 4810408"/>
              <a:gd name="connsiteY263" fmla="*/ 1402402 h 4810401"/>
              <a:gd name="connsiteX264" fmla="*/ 4013704 w 4810408"/>
              <a:gd name="connsiteY264" fmla="*/ 1412455 h 4810401"/>
              <a:gd name="connsiteX265" fmla="*/ 4023757 w 4810408"/>
              <a:gd name="connsiteY265" fmla="*/ 1417480 h 4810401"/>
              <a:gd name="connsiteX266" fmla="*/ 4031296 w 4810408"/>
              <a:gd name="connsiteY266" fmla="*/ 1422508 h 4810401"/>
              <a:gd name="connsiteX267" fmla="*/ 4036324 w 4810408"/>
              <a:gd name="connsiteY267" fmla="*/ 1435075 h 4810401"/>
              <a:gd name="connsiteX268" fmla="*/ 4046377 w 4810408"/>
              <a:gd name="connsiteY268" fmla="*/ 1445129 h 4810401"/>
              <a:gd name="connsiteX269" fmla="*/ 4056430 w 4810408"/>
              <a:gd name="connsiteY269" fmla="*/ 1465235 h 4810401"/>
              <a:gd name="connsiteX270" fmla="*/ 4066483 w 4810408"/>
              <a:gd name="connsiteY270" fmla="*/ 1482827 h 4810401"/>
              <a:gd name="connsiteX271" fmla="*/ 4066483 w 4810408"/>
              <a:gd name="connsiteY271" fmla="*/ 1497905 h 4810401"/>
              <a:gd name="connsiteX272" fmla="*/ 4066483 w 4810408"/>
              <a:gd name="connsiteY272" fmla="*/ 1507958 h 4810401"/>
              <a:gd name="connsiteX273" fmla="*/ 4066483 w 4810408"/>
              <a:gd name="connsiteY273" fmla="*/ 1518011 h 4810401"/>
              <a:gd name="connsiteX274" fmla="*/ 4071508 w 4810408"/>
              <a:gd name="connsiteY274" fmla="*/ 1525553 h 4810401"/>
              <a:gd name="connsiteX275" fmla="*/ 4066483 w 4810408"/>
              <a:gd name="connsiteY275" fmla="*/ 1545660 h 4810401"/>
              <a:gd name="connsiteX276" fmla="*/ 4061455 w 4810408"/>
              <a:gd name="connsiteY276" fmla="*/ 1555713 h 4810401"/>
              <a:gd name="connsiteX277" fmla="*/ 4056430 w 4810408"/>
              <a:gd name="connsiteY277" fmla="*/ 1568277 h 4810401"/>
              <a:gd name="connsiteX278" fmla="*/ 3792535 w 4810408"/>
              <a:gd name="connsiteY278" fmla="*/ 1764314 h 4810401"/>
              <a:gd name="connsiteX279" fmla="*/ 3774940 w 4810408"/>
              <a:gd name="connsiteY279" fmla="*/ 1761800 h 4810401"/>
              <a:gd name="connsiteX280" fmla="*/ 3759862 w 4810408"/>
              <a:gd name="connsiteY280" fmla="*/ 1756775 h 4810401"/>
              <a:gd name="connsiteX281" fmla="*/ 3744780 w 4810408"/>
              <a:gd name="connsiteY281" fmla="*/ 1751747 h 4810401"/>
              <a:gd name="connsiteX282" fmla="*/ 3732216 w 4810408"/>
              <a:gd name="connsiteY282" fmla="*/ 1751747 h 4810401"/>
              <a:gd name="connsiteX283" fmla="*/ 3722163 w 4810408"/>
              <a:gd name="connsiteY283" fmla="*/ 1741694 h 4810401"/>
              <a:gd name="connsiteX284" fmla="*/ 3712110 w 4810408"/>
              <a:gd name="connsiteY284" fmla="*/ 1736669 h 4810401"/>
              <a:gd name="connsiteX285" fmla="*/ 3697029 w 4810408"/>
              <a:gd name="connsiteY285" fmla="*/ 1731641 h 4810401"/>
              <a:gd name="connsiteX286" fmla="*/ 3692004 w 4810408"/>
              <a:gd name="connsiteY286" fmla="*/ 1726616 h 4810401"/>
              <a:gd name="connsiteX287" fmla="*/ 3679437 w 4810408"/>
              <a:gd name="connsiteY287" fmla="*/ 1714049 h 4810401"/>
              <a:gd name="connsiteX288" fmla="*/ 3669383 w 4810408"/>
              <a:gd name="connsiteY288" fmla="*/ 1698971 h 4810401"/>
              <a:gd name="connsiteX289" fmla="*/ 3659330 w 4810408"/>
              <a:gd name="connsiteY289" fmla="*/ 1683889 h 4810401"/>
              <a:gd name="connsiteX290" fmla="*/ 3659330 w 4810408"/>
              <a:gd name="connsiteY290" fmla="*/ 1668811 h 4810401"/>
              <a:gd name="connsiteX291" fmla="*/ 3654302 w 4810408"/>
              <a:gd name="connsiteY291" fmla="*/ 1651216 h 4810401"/>
              <a:gd name="connsiteX292" fmla="*/ 3654302 w 4810408"/>
              <a:gd name="connsiteY292" fmla="*/ 1641163 h 4810401"/>
              <a:gd name="connsiteX293" fmla="*/ 3659330 w 4810408"/>
              <a:gd name="connsiteY293" fmla="*/ 1626085 h 4810401"/>
              <a:gd name="connsiteX294" fmla="*/ 3659330 w 4810408"/>
              <a:gd name="connsiteY294" fmla="*/ 1616032 h 4810401"/>
              <a:gd name="connsiteX295" fmla="*/ 3659330 w 4810408"/>
              <a:gd name="connsiteY295" fmla="*/ 1603464 h 4810401"/>
              <a:gd name="connsiteX296" fmla="*/ 3664355 w 4810408"/>
              <a:gd name="connsiteY296" fmla="*/ 1598439 h 4810401"/>
              <a:gd name="connsiteX297" fmla="*/ 3664355 w 4810408"/>
              <a:gd name="connsiteY297" fmla="*/ 1593411 h 4810401"/>
              <a:gd name="connsiteX298" fmla="*/ 3669383 w 4810408"/>
              <a:gd name="connsiteY298" fmla="*/ 1593411 h 4810401"/>
              <a:gd name="connsiteX299" fmla="*/ 870113 w 4810408"/>
              <a:gd name="connsiteY299" fmla="*/ 1397374 h 4810401"/>
              <a:gd name="connsiteX300" fmla="*/ 885286 w 4810408"/>
              <a:gd name="connsiteY300" fmla="*/ 1397374 h 4810401"/>
              <a:gd name="connsiteX301" fmla="*/ 902986 w 4810408"/>
              <a:gd name="connsiteY301" fmla="*/ 1397374 h 4810401"/>
              <a:gd name="connsiteX302" fmla="*/ 918159 w 4810408"/>
              <a:gd name="connsiteY302" fmla="*/ 1397374 h 4810401"/>
              <a:gd name="connsiteX303" fmla="*/ 933332 w 4810408"/>
              <a:gd name="connsiteY303" fmla="*/ 1397374 h 4810401"/>
              <a:gd name="connsiteX304" fmla="*/ 938389 w 4810408"/>
              <a:gd name="connsiteY304" fmla="*/ 1397374 h 4810401"/>
              <a:gd name="connsiteX305" fmla="*/ 1193789 w 4810408"/>
              <a:gd name="connsiteY305" fmla="*/ 1593411 h 4810401"/>
              <a:gd name="connsiteX306" fmla="*/ 1193789 w 4810408"/>
              <a:gd name="connsiteY306" fmla="*/ 1598439 h 4810401"/>
              <a:gd name="connsiteX307" fmla="*/ 1193789 w 4810408"/>
              <a:gd name="connsiteY307" fmla="*/ 1603464 h 4810401"/>
              <a:gd name="connsiteX308" fmla="*/ 1196315 w 4810408"/>
              <a:gd name="connsiteY308" fmla="*/ 1616032 h 4810401"/>
              <a:gd name="connsiteX309" fmla="*/ 1196315 w 4810408"/>
              <a:gd name="connsiteY309" fmla="*/ 1626085 h 4810401"/>
              <a:gd name="connsiteX310" fmla="*/ 1196315 w 4810408"/>
              <a:gd name="connsiteY310" fmla="*/ 1641163 h 4810401"/>
              <a:gd name="connsiteX311" fmla="*/ 1196315 w 4810408"/>
              <a:gd name="connsiteY311" fmla="*/ 1651216 h 4810401"/>
              <a:gd name="connsiteX312" fmla="*/ 1196315 w 4810408"/>
              <a:gd name="connsiteY312" fmla="*/ 1668811 h 4810401"/>
              <a:gd name="connsiteX313" fmla="*/ 1193789 w 4810408"/>
              <a:gd name="connsiteY313" fmla="*/ 1683889 h 4810401"/>
              <a:gd name="connsiteX314" fmla="*/ 1183672 w 4810408"/>
              <a:gd name="connsiteY314" fmla="*/ 1698971 h 4810401"/>
              <a:gd name="connsiteX315" fmla="*/ 1173559 w 4810408"/>
              <a:gd name="connsiteY315" fmla="*/ 1714049 h 4810401"/>
              <a:gd name="connsiteX316" fmla="*/ 1163443 w 4810408"/>
              <a:gd name="connsiteY316" fmla="*/ 1726616 h 4810401"/>
              <a:gd name="connsiteX317" fmla="*/ 1153329 w 4810408"/>
              <a:gd name="connsiteY317" fmla="*/ 1731641 h 4810401"/>
              <a:gd name="connsiteX318" fmla="*/ 1140686 w 4810408"/>
              <a:gd name="connsiteY318" fmla="*/ 1736669 h 4810401"/>
              <a:gd name="connsiteX319" fmla="*/ 1130570 w 4810408"/>
              <a:gd name="connsiteY319" fmla="*/ 1741694 h 4810401"/>
              <a:gd name="connsiteX320" fmla="*/ 1120456 w 4810408"/>
              <a:gd name="connsiteY320" fmla="*/ 1751747 h 4810401"/>
              <a:gd name="connsiteX321" fmla="*/ 1105283 w 4810408"/>
              <a:gd name="connsiteY321" fmla="*/ 1751747 h 4810401"/>
              <a:gd name="connsiteX322" fmla="*/ 1092640 w 4810408"/>
              <a:gd name="connsiteY322" fmla="*/ 1756775 h 4810401"/>
              <a:gd name="connsiteX323" fmla="*/ 1077467 w 4810408"/>
              <a:gd name="connsiteY323" fmla="*/ 1761800 h 4810401"/>
              <a:gd name="connsiteX324" fmla="*/ 1062294 w 4810408"/>
              <a:gd name="connsiteY324" fmla="*/ 1764314 h 4810401"/>
              <a:gd name="connsiteX325" fmla="*/ 799311 w 4810408"/>
              <a:gd name="connsiteY325" fmla="*/ 1568277 h 4810401"/>
              <a:gd name="connsiteX326" fmla="*/ 794254 w 4810408"/>
              <a:gd name="connsiteY326" fmla="*/ 1568277 h 4810401"/>
              <a:gd name="connsiteX327" fmla="*/ 789194 w 4810408"/>
              <a:gd name="connsiteY327" fmla="*/ 1555713 h 4810401"/>
              <a:gd name="connsiteX328" fmla="*/ 789194 w 4810408"/>
              <a:gd name="connsiteY328" fmla="*/ 1545660 h 4810401"/>
              <a:gd name="connsiteX329" fmla="*/ 789194 w 4810408"/>
              <a:gd name="connsiteY329" fmla="*/ 1525553 h 4810401"/>
              <a:gd name="connsiteX330" fmla="*/ 784137 w 4810408"/>
              <a:gd name="connsiteY330" fmla="*/ 1518011 h 4810401"/>
              <a:gd name="connsiteX331" fmla="*/ 784137 w 4810408"/>
              <a:gd name="connsiteY331" fmla="*/ 1507958 h 4810401"/>
              <a:gd name="connsiteX332" fmla="*/ 784137 w 4810408"/>
              <a:gd name="connsiteY332" fmla="*/ 1497905 h 4810401"/>
              <a:gd name="connsiteX333" fmla="*/ 789194 w 4810408"/>
              <a:gd name="connsiteY333" fmla="*/ 1482827 h 4810401"/>
              <a:gd name="connsiteX334" fmla="*/ 794254 w 4810408"/>
              <a:gd name="connsiteY334" fmla="*/ 1465235 h 4810401"/>
              <a:gd name="connsiteX335" fmla="*/ 801840 w 4810408"/>
              <a:gd name="connsiteY335" fmla="*/ 1445129 h 4810401"/>
              <a:gd name="connsiteX336" fmla="*/ 811954 w 4810408"/>
              <a:gd name="connsiteY336" fmla="*/ 1435075 h 4810401"/>
              <a:gd name="connsiteX337" fmla="*/ 817010 w 4810408"/>
              <a:gd name="connsiteY337" fmla="*/ 1422508 h 4810401"/>
              <a:gd name="connsiteX338" fmla="*/ 827127 w 4810408"/>
              <a:gd name="connsiteY338" fmla="*/ 1417480 h 4810401"/>
              <a:gd name="connsiteX339" fmla="*/ 837240 w 4810408"/>
              <a:gd name="connsiteY339" fmla="*/ 1412455 h 4810401"/>
              <a:gd name="connsiteX340" fmla="*/ 847357 w 4810408"/>
              <a:gd name="connsiteY340" fmla="*/ 1402402 h 4810401"/>
              <a:gd name="connsiteX341" fmla="*/ 860000 w 4810408"/>
              <a:gd name="connsiteY341" fmla="*/ 1402402 h 4810401"/>
              <a:gd name="connsiteX342" fmla="*/ 3001594 w 4810408"/>
              <a:gd name="connsiteY342" fmla="*/ 1380233 h 4810401"/>
              <a:gd name="connsiteX343" fmla="*/ 3051309 w 4810408"/>
              <a:gd name="connsiteY343" fmla="*/ 1399530 h 4810401"/>
              <a:gd name="connsiteX344" fmla="*/ 3092000 w 4810408"/>
              <a:gd name="connsiteY344" fmla="*/ 1585043 h 4810401"/>
              <a:gd name="connsiteX345" fmla="*/ 2675803 w 4810408"/>
              <a:gd name="connsiteY345" fmla="*/ 2235120 h 4810401"/>
              <a:gd name="connsiteX346" fmla="*/ 2702736 w 4810408"/>
              <a:gd name="connsiteY346" fmla="*/ 2279511 h 4810401"/>
              <a:gd name="connsiteX347" fmla="*/ 2705100 w 4810408"/>
              <a:gd name="connsiteY347" fmla="*/ 2287126 h 4810401"/>
              <a:gd name="connsiteX348" fmla="*/ 4182142 w 4810408"/>
              <a:gd name="connsiteY348" fmla="*/ 2287126 h 4810401"/>
              <a:gd name="connsiteX349" fmla="*/ 4219241 w 4810408"/>
              <a:gd name="connsiteY349" fmla="*/ 2294616 h 4810401"/>
              <a:gd name="connsiteX350" fmla="*/ 4232729 w 4810408"/>
              <a:gd name="connsiteY350" fmla="*/ 2294616 h 4810401"/>
              <a:gd name="connsiteX351" fmla="*/ 4237729 w 4810408"/>
              <a:gd name="connsiteY351" fmla="*/ 2294616 h 4810401"/>
              <a:gd name="connsiteX352" fmla="*/ 4252725 w 4810408"/>
              <a:gd name="connsiteY352" fmla="*/ 2309362 h 4810401"/>
              <a:gd name="connsiteX353" fmla="*/ 4262724 w 4810408"/>
              <a:gd name="connsiteY353" fmla="*/ 2314276 h 4810401"/>
              <a:gd name="connsiteX354" fmla="*/ 4270222 w 4810408"/>
              <a:gd name="connsiteY354" fmla="*/ 2324108 h 4810401"/>
              <a:gd name="connsiteX355" fmla="*/ 4275221 w 4810408"/>
              <a:gd name="connsiteY355" fmla="*/ 2333936 h 4810401"/>
              <a:gd name="connsiteX356" fmla="*/ 4290220 w 4810408"/>
              <a:gd name="connsiteY356" fmla="*/ 2351139 h 4810401"/>
              <a:gd name="connsiteX357" fmla="*/ 4290220 w 4810408"/>
              <a:gd name="connsiteY357" fmla="*/ 2358176 h 4810401"/>
              <a:gd name="connsiteX358" fmla="*/ 4290938 w 4810408"/>
              <a:gd name="connsiteY358" fmla="*/ 2359241 h 4810401"/>
              <a:gd name="connsiteX359" fmla="*/ 4293152 w 4810408"/>
              <a:gd name="connsiteY359" fmla="*/ 2370206 h 4810401"/>
              <a:gd name="connsiteX360" fmla="*/ 4300217 w 4810408"/>
              <a:gd name="connsiteY360" fmla="*/ 2380627 h 4810401"/>
              <a:gd name="connsiteX361" fmla="*/ 4297290 w 4810408"/>
              <a:gd name="connsiteY361" fmla="*/ 2390700 h 4810401"/>
              <a:gd name="connsiteX362" fmla="*/ 4300217 w 4810408"/>
              <a:gd name="connsiteY362" fmla="*/ 2405201 h 4810401"/>
              <a:gd name="connsiteX363" fmla="*/ 4300216 w 4810408"/>
              <a:gd name="connsiteY363" fmla="*/ 2405201 h 4810401"/>
              <a:gd name="connsiteX364" fmla="*/ 4265633 w 4810408"/>
              <a:gd name="connsiteY364" fmla="*/ 2488693 h 4810401"/>
              <a:gd name="connsiteX365" fmla="*/ 4248618 w 4810408"/>
              <a:gd name="connsiteY365" fmla="*/ 2500164 h 4810401"/>
              <a:gd name="connsiteX366" fmla="*/ 4242728 w 4810408"/>
              <a:gd name="connsiteY366" fmla="*/ 2505957 h 4810401"/>
              <a:gd name="connsiteX367" fmla="*/ 4239898 w 4810408"/>
              <a:gd name="connsiteY367" fmla="*/ 2506043 h 4810401"/>
              <a:gd name="connsiteX368" fmla="*/ 4228101 w 4810408"/>
              <a:gd name="connsiteY368" fmla="*/ 2513997 h 4810401"/>
              <a:gd name="connsiteX369" fmla="*/ 4182141 w 4810408"/>
              <a:gd name="connsiteY369" fmla="*/ 2523276 h 4810401"/>
              <a:gd name="connsiteX370" fmla="*/ 2705099 w 4810408"/>
              <a:gd name="connsiteY370" fmla="*/ 2523275 h 4810401"/>
              <a:gd name="connsiteX371" fmla="*/ 2702736 w 4810408"/>
              <a:gd name="connsiteY371" fmla="*/ 2530890 h 4810401"/>
              <a:gd name="connsiteX372" fmla="*/ 2405204 w 4810408"/>
              <a:gd name="connsiteY372" fmla="*/ 2728106 h 4810401"/>
              <a:gd name="connsiteX373" fmla="*/ 2362260 w 4810408"/>
              <a:gd name="connsiteY373" fmla="*/ 2724857 h 4810401"/>
              <a:gd name="connsiteX374" fmla="*/ 2288654 w 4810408"/>
              <a:gd name="connsiteY374" fmla="*/ 2839825 h 4810401"/>
              <a:gd name="connsiteX375" fmla="*/ 2103141 w 4810408"/>
              <a:gd name="connsiteY375" fmla="*/ 2880516 h 4810401"/>
              <a:gd name="connsiteX376" fmla="*/ 2062450 w 4810408"/>
              <a:gd name="connsiteY376" fmla="*/ 2695003 h 4810401"/>
              <a:gd name="connsiteX377" fmla="*/ 2136792 w 4810408"/>
              <a:gd name="connsiteY377" fmla="*/ 2578885 h 4810401"/>
              <a:gd name="connsiteX378" fmla="*/ 2107673 w 4810408"/>
              <a:gd name="connsiteY378" fmla="*/ 2530890 h 4810401"/>
              <a:gd name="connsiteX379" fmla="*/ 2105309 w 4810408"/>
              <a:gd name="connsiteY379" fmla="*/ 2523275 h 4810401"/>
              <a:gd name="connsiteX380" fmla="*/ 1997498 w 4810408"/>
              <a:gd name="connsiteY380" fmla="*/ 2523275 h 4810401"/>
              <a:gd name="connsiteX381" fmla="*/ 1888702 w 4810408"/>
              <a:gd name="connsiteY381" fmla="*/ 2451160 h 4810401"/>
              <a:gd name="connsiteX382" fmla="*/ 1879423 w 4810408"/>
              <a:gd name="connsiteY382" fmla="*/ 2405201 h 4810401"/>
              <a:gd name="connsiteX383" fmla="*/ 1888702 w 4810408"/>
              <a:gd name="connsiteY383" fmla="*/ 2359241 h 4810401"/>
              <a:gd name="connsiteX384" fmla="*/ 1997498 w 4810408"/>
              <a:gd name="connsiteY384" fmla="*/ 2287126 h 4810401"/>
              <a:gd name="connsiteX385" fmla="*/ 2105309 w 4810408"/>
              <a:gd name="connsiteY385" fmla="*/ 2287126 h 4810401"/>
              <a:gd name="connsiteX386" fmla="*/ 2107673 w 4810408"/>
              <a:gd name="connsiteY386" fmla="*/ 2279511 h 4810401"/>
              <a:gd name="connsiteX387" fmla="*/ 2405204 w 4810408"/>
              <a:gd name="connsiteY387" fmla="*/ 2082294 h 4810401"/>
              <a:gd name="connsiteX388" fmla="*/ 2452436 w 4810408"/>
              <a:gd name="connsiteY388" fmla="*/ 2085868 h 4810401"/>
              <a:gd name="connsiteX389" fmla="*/ 2865796 w 4810408"/>
              <a:gd name="connsiteY389" fmla="*/ 1440221 h 4810401"/>
              <a:gd name="connsiteX390" fmla="*/ 3001594 w 4810408"/>
              <a:gd name="connsiteY390" fmla="*/ 1380233 h 4810401"/>
              <a:gd name="connsiteX391" fmla="*/ 3280793 w 4810408"/>
              <a:gd name="connsiteY391" fmla="*/ 764029 h 4810401"/>
              <a:gd name="connsiteX392" fmla="*/ 3293271 w 4810408"/>
              <a:gd name="connsiteY392" fmla="*/ 764029 h 4810401"/>
              <a:gd name="connsiteX393" fmla="*/ 3303255 w 4810408"/>
              <a:gd name="connsiteY393" fmla="*/ 764029 h 4810401"/>
              <a:gd name="connsiteX394" fmla="*/ 3318228 w 4810408"/>
              <a:gd name="connsiteY394" fmla="*/ 764029 h 4810401"/>
              <a:gd name="connsiteX395" fmla="*/ 3328212 w 4810408"/>
              <a:gd name="connsiteY395" fmla="*/ 764029 h 4810401"/>
              <a:gd name="connsiteX396" fmla="*/ 3338195 w 4810408"/>
              <a:gd name="connsiteY396" fmla="*/ 769086 h 4810401"/>
              <a:gd name="connsiteX397" fmla="*/ 3345680 w 4810408"/>
              <a:gd name="connsiteY397" fmla="*/ 774142 h 4810401"/>
              <a:gd name="connsiteX398" fmla="*/ 3360657 w 4810408"/>
              <a:gd name="connsiteY398" fmla="*/ 784256 h 4810401"/>
              <a:gd name="connsiteX399" fmla="*/ 3375631 w 4810408"/>
              <a:gd name="connsiteY399" fmla="*/ 796899 h 4810401"/>
              <a:gd name="connsiteX400" fmla="*/ 3390604 w 4810408"/>
              <a:gd name="connsiteY400" fmla="*/ 817125 h 4810401"/>
              <a:gd name="connsiteX401" fmla="*/ 3398093 w 4810408"/>
              <a:gd name="connsiteY401" fmla="*/ 837352 h 4810401"/>
              <a:gd name="connsiteX402" fmla="*/ 3408073 w 4810408"/>
              <a:gd name="connsiteY402" fmla="*/ 855049 h 4810401"/>
              <a:gd name="connsiteX403" fmla="*/ 3408073 w 4810408"/>
              <a:gd name="connsiteY403" fmla="*/ 870219 h 4810401"/>
              <a:gd name="connsiteX404" fmla="*/ 3413066 w 4810408"/>
              <a:gd name="connsiteY404" fmla="*/ 885388 h 4810401"/>
              <a:gd name="connsiteX405" fmla="*/ 3413066 w 4810408"/>
              <a:gd name="connsiteY405" fmla="*/ 892975 h 4810401"/>
              <a:gd name="connsiteX406" fmla="*/ 3418056 w 4810408"/>
              <a:gd name="connsiteY406" fmla="*/ 898032 h 4810401"/>
              <a:gd name="connsiteX407" fmla="*/ 3245852 w 4810408"/>
              <a:gd name="connsiteY407" fmla="*/ 1181203 h 4810401"/>
              <a:gd name="connsiteX408" fmla="*/ 3228383 w 4810408"/>
              <a:gd name="connsiteY408" fmla="*/ 1181203 h 4810401"/>
              <a:gd name="connsiteX409" fmla="*/ 3213410 w 4810408"/>
              <a:gd name="connsiteY409" fmla="*/ 1186259 h 4810401"/>
              <a:gd name="connsiteX410" fmla="*/ 3195938 w 4810408"/>
              <a:gd name="connsiteY410" fmla="*/ 1186259 h 4810401"/>
              <a:gd name="connsiteX411" fmla="*/ 3185954 w 4810408"/>
              <a:gd name="connsiteY411" fmla="*/ 1186259 h 4810401"/>
              <a:gd name="connsiteX412" fmla="*/ 3170981 w 4810408"/>
              <a:gd name="connsiteY412" fmla="*/ 1186259 h 4810401"/>
              <a:gd name="connsiteX413" fmla="*/ 3160997 w 4810408"/>
              <a:gd name="connsiteY413" fmla="*/ 1181203 h 4810401"/>
              <a:gd name="connsiteX414" fmla="*/ 3148519 w 4810408"/>
              <a:gd name="connsiteY414" fmla="*/ 1181203 h 4810401"/>
              <a:gd name="connsiteX415" fmla="*/ 3138538 w 4810408"/>
              <a:gd name="connsiteY415" fmla="*/ 1181203 h 4810401"/>
              <a:gd name="connsiteX416" fmla="*/ 3118572 w 4810408"/>
              <a:gd name="connsiteY416" fmla="*/ 1173619 h 4810401"/>
              <a:gd name="connsiteX417" fmla="*/ 3103598 w 4810408"/>
              <a:gd name="connsiteY417" fmla="*/ 1163506 h 4810401"/>
              <a:gd name="connsiteX418" fmla="*/ 3096110 w 4810408"/>
              <a:gd name="connsiteY418" fmla="*/ 1153393 h 4810401"/>
              <a:gd name="connsiteX419" fmla="*/ 3086126 w 4810408"/>
              <a:gd name="connsiteY419" fmla="*/ 1138223 h 4810401"/>
              <a:gd name="connsiteX420" fmla="*/ 3076143 w 4810408"/>
              <a:gd name="connsiteY420" fmla="*/ 1125580 h 4810401"/>
              <a:gd name="connsiteX421" fmla="*/ 3071152 w 4810408"/>
              <a:gd name="connsiteY421" fmla="*/ 1110410 h 4810401"/>
              <a:gd name="connsiteX422" fmla="*/ 3066162 w 4810408"/>
              <a:gd name="connsiteY422" fmla="*/ 1100296 h 4810401"/>
              <a:gd name="connsiteX423" fmla="*/ 3066162 w 4810408"/>
              <a:gd name="connsiteY423" fmla="*/ 1085126 h 4810401"/>
              <a:gd name="connsiteX424" fmla="*/ 3061169 w 4810408"/>
              <a:gd name="connsiteY424" fmla="*/ 1072484 h 4810401"/>
              <a:gd name="connsiteX425" fmla="*/ 3066162 w 4810408"/>
              <a:gd name="connsiteY425" fmla="*/ 1062371 h 4810401"/>
              <a:gd name="connsiteX426" fmla="*/ 3223390 w 4810408"/>
              <a:gd name="connsiteY426" fmla="*/ 791842 h 4810401"/>
              <a:gd name="connsiteX427" fmla="*/ 3228383 w 4810408"/>
              <a:gd name="connsiteY427" fmla="*/ 789312 h 4810401"/>
              <a:gd name="connsiteX428" fmla="*/ 3238367 w 4810408"/>
              <a:gd name="connsiteY428" fmla="*/ 784256 h 4810401"/>
              <a:gd name="connsiteX429" fmla="*/ 3243357 w 4810408"/>
              <a:gd name="connsiteY429" fmla="*/ 779199 h 4810401"/>
              <a:gd name="connsiteX430" fmla="*/ 3250845 w 4810408"/>
              <a:gd name="connsiteY430" fmla="*/ 774142 h 4810401"/>
              <a:gd name="connsiteX431" fmla="*/ 3260826 w 4810408"/>
              <a:gd name="connsiteY431" fmla="*/ 769086 h 4810401"/>
              <a:gd name="connsiteX432" fmla="*/ 3270809 w 4810408"/>
              <a:gd name="connsiteY432" fmla="*/ 769086 h 4810401"/>
              <a:gd name="connsiteX433" fmla="*/ 1529950 w 4810408"/>
              <a:gd name="connsiteY433" fmla="*/ 764029 h 4810401"/>
              <a:gd name="connsiteX434" fmla="*/ 1542426 w 4810408"/>
              <a:gd name="connsiteY434" fmla="*/ 764029 h 4810401"/>
              <a:gd name="connsiteX435" fmla="*/ 1552406 w 4810408"/>
              <a:gd name="connsiteY435" fmla="*/ 764029 h 4810401"/>
              <a:gd name="connsiteX436" fmla="*/ 1562386 w 4810408"/>
              <a:gd name="connsiteY436" fmla="*/ 764029 h 4810401"/>
              <a:gd name="connsiteX437" fmla="*/ 1577360 w 4810408"/>
              <a:gd name="connsiteY437" fmla="*/ 764029 h 4810401"/>
              <a:gd name="connsiteX438" fmla="*/ 1587340 w 4810408"/>
              <a:gd name="connsiteY438" fmla="*/ 769086 h 4810401"/>
              <a:gd name="connsiteX439" fmla="*/ 1604806 w 4810408"/>
              <a:gd name="connsiteY439" fmla="*/ 774142 h 4810401"/>
              <a:gd name="connsiteX440" fmla="*/ 1619776 w 4810408"/>
              <a:gd name="connsiteY440" fmla="*/ 784256 h 4810401"/>
              <a:gd name="connsiteX441" fmla="*/ 1629756 w 4810408"/>
              <a:gd name="connsiteY441" fmla="*/ 789312 h 4810401"/>
              <a:gd name="connsiteX442" fmla="*/ 1637245 w 4810408"/>
              <a:gd name="connsiteY442" fmla="*/ 791842 h 4810401"/>
              <a:gd name="connsiteX443" fmla="*/ 1789451 w 4810408"/>
              <a:gd name="connsiteY443" fmla="*/ 1062371 h 4810401"/>
              <a:gd name="connsiteX444" fmla="*/ 1789451 w 4810408"/>
              <a:gd name="connsiteY444" fmla="*/ 1072484 h 4810401"/>
              <a:gd name="connsiteX445" fmla="*/ 1789451 w 4810408"/>
              <a:gd name="connsiteY445" fmla="*/ 1085126 h 4810401"/>
              <a:gd name="connsiteX446" fmla="*/ 1784460 w 4810408"/>
              <a:gd name="connsiteY446" fmla="*/ 1100296 h 4810401"/>
              <a:gd name="connsiteX447" fmla="*/ 1781965 w 4810408"/>
              <a:gd name="connsiteY447" fmla="*/ 1110410 h 4810401"/>
              <a:gd name="connsiteX448" fmla="*/ 1776975 w 4810408"/>
              <a:gd name="connsiteY448" fmla="*/ 1125580 h 4810401"/>
              <a:gd name="connsiteX449" fmla="*/ 1771985 w 4810408"/>
              <a:gd name="connsiteY449" fmla="*/ 1138223 h 4810401"/>
              <a:gd name="connsiteX450" fmla="*/ 1757015 w 4810408"/>
              <a:gd name="connsiteY450" fmla="*/ 1153393 h 4810401"/>
              <a:gd name="connsiteX451" fmla="*/ 1747034 w 4810408"/>
              <a:gd name="connsiteY451" fmla="*/ 1163506 h 4810401"/>
              <a:gd name="connsiteX452" fmla="*/ 1729566 w 4810408"/>
              <a:gd name="connsiteY452" fmla="*/ 1173619 h 4810401"/>
              <a:gd name="connsiteX453" fmla="*/ 1714595 w 4810408"/>
              <a:gd name="connsiteY453" fmla="*/ 1181203 h 4810401"/>
              <a:gd name="connsiteX454" fmla="*/ 1704615 w 4810408"/>
              <a:gd name="connsiteY454" fmla="*/ 1181203 h 4810401"/>
              <a:gd name="connsiteX455" fmla="*/ 1689645 w 4810408"/>
              <a:gd name="connsiteY455" fmla="*/ 1181203 h 4810401"/>
              <a:gd name="connsiteX456" fmla="*/ 1677166 w 4810408"/>
              <a:gd name="connsiteY456" fmla="*/ 1186259 h 4810401"/>
              <a:gd name="connsiteX457" fmla="*/ 1667186 w 4810408"/>
              <a:gd name="connsiteY457" fmla="*/ 1186259 h 4810401"/>
              <a:gd name="connsiteX458" fmla="*/ 1652215 w 4810408"/>
              <a:gd name="connsiteY458" fmla="*/ 1186259 h 4810401"/>
              <a:gd name="connsiteX459" fmla="*/ 1637245 w 4810408"/>
              <a:gd name="connsiteY459" fmla="*/ 1186259 h 4810401"/>
              <a:gd name="connsiteX460" fmla="*/ 1624766 w 4810408"/>
              <a:gd name="connsiteY460" fmla="*/ 1181203 h 4810401"/>
              <a:gd name="connsiteX461" fmla="*/ 1604806 w 4810408"/>
              <a:gd name="connsiteY461" fmla="*/ 1181203 h 4810401"/>
              <a:gd name="connsiteX462" fmla="*/ 1442616 w 4810408"/>
              <a:gd name="connsiteY462" fmla="*/ 898032 h 4810401"/>
              <a:gd name="connsiteX463" fmla="*/ 1442616 w 4810408"/>
              <a:gd name="connsiteY463" fmla="*/ 892975 h 4810401"/>
              <a:gd name="connsiteX464" fmla="*/ 1442616 w 4810408"/>
              <a:gd name="connsiteY464" fmla="*/ 885389 h 4810401"/>
              <a:gd name="connsiteX465" fmla="*/ 1442616 w 4810408"/>
              <a:gd name="connsiteY465" fmla="*/ 870219 h 4810401"/>
              <a:gd name="connsiteX466" fmla="*/ 1447606 w 4810408"/>
              <a:gd name="connsiteY466" fmla="*/ 855049 h 4810401"/>
              <a:gd name="connsiteX467" fmla="*/ 1452597 w 4810408"/>
              <a:gd name="connsiteY467" fmla="*/ 837352 h 4810401"/>
              <a:gd name="connsiteX468" fmla="*/ 1462580 w 4810408"/>
              <a:gd name="connsiteY468" fmla="*/ 817125 h 4810401"/>
              <a:gd name="connsiteX469" fmla="*/ 1477551 w 4810408"/>
              <a:gd name="connsiteY469" fmla="*/ 796899 h 4810401"/>
              <a:gd name="connsiteX470" fmla="*/ 1495016 w 4810408"/>
              <a:gd name="connsiteY470" fmla="*/ 784256 h 4810401"/>
              <a:gd name="connsiteX471" fmla="*/ 1504996 w 4810408"/>
              <a:gd name="connsiteY471" fmla="*/ 774142 h 4810401"/>
              <a:gd name="connsiteX472" fmla="*/ 1519970 w 4810408"/>
              <a:gd name="connsiteY472" fmla="*/ 769086 h 4810401"/>
              <a:gd name="connsiteX473" fmla="*/ 2372531 w 4810408"/>
              <a:gd name="connsiteY473" fmla="*/ 517730 h 4810401"/>
              <a:gd name="connsiteX474" fmla="*/ 2387609 w 4810408"/>
              <a:gd name="connsiteY474" fmla="*/ 517730 h 4810401"/>
              <a:gd name="connsiteX475" fmla="*/ 2402690 w 4810408"/>
              <a:gd name="connsiteY475" fmla="*/ 522730 h 4810401"/>
              <a:gd name="connsiteX476" fmla="*/ 2412743 w 4810408"/>
              <a:gd name="connsiteY476" fmla="*/ 522730 h 4810401"/>
              <a:gd name="connsiteX477" fmla="*/ 2420282 w 4810408"/>
              <a:gd name="connsiteY477" fmla="*/ 522730 h 4810401"/>
              <a:gd name="connsiteX478" fmla="*/ 2435360 w 4810408"/>
              <a:gd name="connsiteY478" fmla="*/ 527729 h 4810401"/>
              <a:gd name="connsiteX479" fmla="*/ 2445413 w 4810408"/>
              <a:gd name="connsiteY479" fmla="*/ 532729 h 4810401"/>
              <a:gd name="connsiteX480" fmla="*/ 2460495 w 4810408"/>
              <a:gd name="connsiteY480" fmla="*/ 547725 h 4810401"/>
              <a:gd name="connsiteX481" fmla="*/ 2478087 w 4810408"/>
              <a:gd name="connsiteY481" fmla="*/ 560222 h 4810401"/>
              <a:gd name="connsiteX482" fmla="*/ 2488140 w 4810408"/>
              <a:gd name="connsiteY482" fmla="*/ 570222 h 4810401"/>
              <a:gd name="connsiteX483" fmla="*/ 2498193 w 4810408"/>
              <a:gd name="connsiteY483" fmla="*/ 585217 h 4810401"/>
              <a:gd name="connsiteX484" fmla="*/ 2508246 w 4810408"/>
              <a:gd name="connsiteY484" fmla="*/ 590217 h 4810401"/>
              <a:gd name="connsiteX485" fmla="*/ 2508246 w 4810408"/>
              <a:gd name="connsiteY485" fmla="*/ 595217 h 4810401"/>
              <a:gd name="connsiteX486" fmla="*/ 2508246 w 4810408"/>
              <a:gd name="connsiteY486" fmla="*/ 917661 h 4810401"/>
              <a:gd name="connsiteX487" fmla="*/ 2488140 w 4810408"/>
              <a:gd name="connsiteY487" fmla="*/ 927657 h 4810401"/>
              <a:gd name="connsiteX488" fmla="*/ 2478087 w 4810408"/>
              <a:gd name="connsiteY488" fmla="*/ 937656 h 4810401"/>
              <a:gd name="connsiteX489" fmla="*/ 2465520 w 4810408"/>
              <a:gd name="connsiteY489" fmla="*/ 945153 h 4810401"/>
              <a:gd name="connsiteX490" fmla="*/ 2455467 w 4810408"/>
              <a:gd name="connsiteY490" fmla="*/ 955153 h 4810401"/>
              <a:gd name="connsiteX491" fmla="*/ 2440388 w 4810408"/>
              <a:gd name="connsiteY491" fmla="*/ 960153 h 4810401"/>
              <a:gd name="connsiteX492" fmla="*/ 2430335 w 4810408"/>
              <a:gd name="connsiteY492" fmla="*/ 965149 h 4810401"/>
              <a:gd name="connsiteX493" fmla="*/ 2420282 w 4810408"/>
              <a:gd name="connsiteY493" fmla="*/ 970148 h 4810401"/>
              <a:gd name="connsiteX494" fmla="*/ 2412743 w 4810408"/>
              <a:gd name="connsiteY494" fmla="*/ 975148 h 4810401"/>
              <a:gd name="connsiteX495" fmla="*/ 2387609 w 4810408"/>
              <a:gd name="connsiteY495" fmla="*/ 975148 h 4810401"/>
              <a:gd name="connsiteX496" fmla="*/ 2372531 w 4810408"/>
              <a:gd name="connsiteY496" fmla="*/ 975148 h 4810401"/>
              <a:gd name="connsiteX497" fmla="*/ 2354935 w 4810408"/>
              <a:gd name="connsiteY497" fmla="*/ 965149 h 4810401"/>
              <a:gd name="connsiteX498" fmla="*/ 2344882 w 4810408"/>
              <a:gd name="connsiteY498" fmla="*/ 965149 h 4810401"/>
              <a:gd name="connsiteX499" fmla="*/ 2324776 w 4810408"/>
              <a:gd name="connsiteY499" fmla="*/ 955153 h 4810401"/>
              <a:gd name="connsiteX500" fmla="*/ 2317237 w 4810408"/>
              <a:gd name="connsiteY500" fmla="*/ 945153 h 4810401"/>
              <a:gd name="connsiteX501" fmla="*/ 2307184 w 4810408"/>
              <a:gd name="connsiteY501" fmla="*/ 937656 h 4810401"/>
              <a:gd name="connsiteX502" fmla="*/ 2302159 w 4810408"/>
              <a:gd name="connsiteY502" fmla="*/ 927657 h 4810401"/>
              <a:gd name="connsiteX503" fmla="*/ 2287078 w 4810408"/>
              <a:gd name="connsiteY503" fmla="*/ 912660 h 4810401"/>
              <a:gd name="connsiteX504" fmla="*/ 2287078 w 4810408"/>
              <a:gd name="connsiteY504" fmla="*/ 907660 h 4810401"/>
              <a:gd name="connsiteX505" fmla="*/ 2287078 w 4810408"/>
              <a:gd name="connsiteY505" fmla="*/ 600216 h 4810401"/>
              <a:gd name="connsiteX506" fmla="*/ 2287078 w 4810408"/>
              <a:gd name="connsiteY506" fmla="*/ 595217 h 4810401"/>
              <a:gd name="connsiteX507" fmla="*/ 2292106 w 4810408"/>
              <a:gd name="connsiteY507" fmla="*/ 585217 h 4810401"/>
              <a:gd name="connsiteX508" fmla="*/ 2302159 w 4810408"/>
              <a:gd name="connsiteY508" fmla="*/ 570222 h 4810401"/>
              <a:gd name="connsiteX509" fmla="*/ 2317237 w 4810408"/>
              <a:gd name="connsiteY509" fmla="*/ 555223 h 4810401"/>
              <a:gd name="connsiteX510" fmla="*/ 2334829 w 4810408"/>
              <a:gd name="connsiteY510" fmla="*/ 537725 h 4810401"/>
              <a:gd name="connsiteX511" fmla="*/ 2354935 w 4810408"/>
              <a:gd name="connsiteY511" fmla="*/ 527729 h 4810401"/>
              <a:gd name="connsiteX512" fmla="*/ 2364988 w 4810408"/>
              <a:gd name="connsiteY512" fmla="*/ 522730 h 4810401"/>
              <a:gd name="connsiteX513" fmla="*/ 2405204 w 4810408"/>
              <a:gd name="connsiteY513" fmla="*/ 310321 h 4810401"/>
              <a:gd name="connsiteX514" fmla="*/ 310320 w 4810408"/>
              <a:gd name="connsiteY514" fmla="*/ 2405200 h 4810401"/>
              <a:gd name="connsiteX515" fmla="*/ 2405204 w 4810408"/>
              <a:gd name="connsiteY515" fmla="*/ 4500081 h 4810401"/>
              <a:gd name="connsiteX516" fmla="*/ 4500088 w 4810408"/>
              <a:gd name="connsiteY516" fmla="*/ 2405200 h 4810401"/>
              <a:gd name="connsiteX517" fmla="*/ 2405204 w 4810408"/>
              <a:gd name="connsiteY517" fmla="*/ 310321 h 4810401"/>
              <a:gd name="connsiteX518" fmla="*/ 2405204 w 4810408"/>
              <a:gd name="connsiteY518" fmla="*/ 0 h 4810401"/>
              <a:gd name="connsiteX519" fmla="*/ 4810408 w 4810408"/>
              <a:gd name="connsiteY519" fmla="*/ 2405200 h 4810401"/>
              <a:gd name="connsiteX520" fmla="*/ 2405204 w 4810408"/>
              <a:gd name="connsiteY520" fmla="*/ 4810401 h 4810401"/>
              <a:gd name="connsiteX521" fmla="*/ 0 w 4810408"/>
              <a:gd name="connsiteY521" fmla="*/ 2405200 h 4810401"/>
              <a:gd name="connsiteX522" fmla="*/ 2405204 w 4810408"/>
              <a:gd name="connsiteY522" fmla="*/ 0 h 481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</a:cxnLst>
            <a:rect l="l" t="t" r="r" b="b"/>
            <a:pathLst>
              <a:path w="4810408" h="4810401">
                <a:moveTo>
                  <a:pt x="2373437" y="3900602"/>
                </a:moveTo>
                <a:lnTo>
                  <a:pt x="2383604" y="3900602"/>
                </a:lnTo>
                <a:lnTo>
                  <a:pt x="2398853" y="3900602"/>
                </a:lnTo>
                <a:lnTo>
                  <a:pt x="2414103" y="3900602"/>
                </a:lnTo>
                <a:lnTo>
                  <a:pt x="2421727" y="3900602"/>
                </a:lnTo>
                <a:lnTo>
                  <a:pt x="2436976" y="3905602"/>
                </a:lnTo>
                <a:lnTo>
                  <a:pt x="2447140" y="3910602"/>
                </a:lnTo>
                <a:lnTo>
                  <a:pt x="2457307" y="3915598"/>
                </a:lnTo>
                <a:lnTo>
                  <a:pt x="2475099" y="3925597"/>
                </a:lnTo>
                <a:lnTo>
                  <a:pt x="2490348" y="3940593"/>
                </a:lnTo>
                <a:lnTo>
                  <a:pt x="2500515" y="3948091"/>
                </a:lnTo>
                <a:lnTo>
                  <a:pt x="2510679" y="3958090"/>
                </a:lnTo>
                <a:lnTo>
                  <a:pt x="2515764" y="3968087"/>
                </a:lnTo>
                <a:lnTo>
                  <a:pt x="2518304" y="3973086"/>
                </a:lnTo>
                <a:lnTo>
                  <a:pt x="2515764" y="4295508"/>
                </a:lnTo>
                <a:lnTo>
                  <a:pt x="2500515" y="4305504"/>
                </a:lnTo>
                <a:lnTo>
                  <a:pt x="2490348" y="4315504"/>
                </a:lnTo>
                <a:lnTo>
                  <a:pt x="2475099" y="4325500"/>
                </a:lnTo>
                <a:lnTo>
                  <a:pt x="2467474" y="4332998"/>
                </a:lnTo>
                <a:lnTo>
                  <a:pt x="2452225" y="4337997"/>
                </a:lnTo>
                <a:lnTo>
                  <a:pt x="2442058" y="4342997"/>
                </a:lnTo>
                <a:lnTo>
                  <a:pt x="2431891" y="4347997"/>
                </a:lnTo>
                <a:lnTo>
                  <a:pt x="2421727" y="4352993"/>
                </a:lnTo>
                <a:lnTo>
                  <a:pt x="2398853" y="4352993"/>
                </a:lnTo>
                <a:lnTo>
                  <a:pt x="2383604" y="4352993"/>
                </a:lnTo>
                <a:lnTo>
                  <a:pt x="2365813" y="4347997"/>
                </a:lnTo>
                <a:lnTo>
                  <a:pt x="2355646" y="4342997"/>
                </a:lnTo>
                <a:lnTo>
                  <a:pt x="2335315" y="4332998"/>
                </a:lnTo>
                <a:lnTo>
                  <a:pt x="2325147" y="4328001"/>
                </a:lnTo>
                <a:lnTo>
                  <a:pt x="2312441" y="4320500"/>
                </a:lnTo>
                <a:lnTo>
                  <a:pt x="2307356" y="4310504"/>
                </a:lnTo>
                <a:lnTo>
                  <a:pt x="2297192" y="4295508"/>
                </a:lnTo>
                <a:lnTo>
                  <a:pt x="2292107" y="4290509"/>
                </a:lnTo>
                <a:lnTo>
                  <a:pt x="2292107" y="3973086"/>
                </a:lnTo>
                <a:lnTo>
                  <a:pt x="2302274" y="3963087"/>
                </a:lnTo>
                <a:lnTo>
                  <a:pt x="2312441" y="3943091"/>
                </a:lnTo>
                <a:lnTo>
                  <a:pt x="2325147" y="3935594"/>
                </a:lnTo>
                <a:lnTo>
                  <a:pt x="2340397" y="3915598"/>
                </a:lnTo>
                <a:lnTo>
                  <a:pt x="2365813" y="3905602"/>
                </a:lnTo>
                <a:close/>
                <a:moveTo>
                  <a:pt x="3151061" y="3659326"/>
                </a:moveTo>
                <a:lnTo>
                  <a:pt x="3166035" y="3659326"/>
                </a:lnTo>
                <a:lnTo>
                  <a:pt x="3176018" y="3659326"/>
                </a:lnTo>
                <a:lnTo>
                  <a:pt x="3190995" y="3659326"/>
                </a:lnTo>
                <a:lnTo>
                  <a:pt x="3198484" y="3659326"/>
                </a:lnTo>
                <a:lnTo>
                  <a:pt x="3218450" y="3659326"/>
                </a:lnTo>
                <a:lnTo>
                  <a:pt x="3233427" y="3659326"/>
                </a:lnTo>
                <a:lnTo>
                  <a:pt x="3250899" y="3669380"/>
                </a:lnTo>
                <a:lnTo>
                  <a:pt x="3428110" y="3950867"/>
                </a:lnTo>
                <a:lnTo>
                  <a:pt x="3423119" y="3950867"/>
                </a:lnTo>
                <a:lnTo>
                  <a:pt x="3423119" y="3960920"/>
                </a:lnTo>
                <a:lnTo>
                  <a:pt x="3423119" y="3970973"/>
                </a:lnTo>
                <a:lnTo>
                  <a:pt x="3418126" y="3988565"/>
                </a:lnTo>
                <a:lnTo>
                  <a:pt x="3408143" y="4008672"/>
                </a:lnTo>
                <a:lnTo>
                  <a:pt x="3403149" y="4028778"/>
                </a:lnTo>
                <a:lnTo>
                  <a:pt x="3390671" y="4041345"/>
                </a:lnTo>
                <a:lnTo>
                  <a:pt x="3370704" y="4066480"/>
                </a:lnTo>
                <a:lnTo>
                  <a:pt x="3360720" y="4066480"/>
                </a:lnTo>
                <a:lnTo>
                  <a:pt x="3345744" y="4076533"/>
                </a:lnTo>
                <a:lnTo>
                  <a:pt x="3338255" y="4076533"/>
                </a:lnTo>
                <a:lnTo>
                  <a:pt x="3328272" y="4081558"/>
                </a:lnTo>
                <a:lnTo>
                  <a:pt x="3313298" y="4081558"/>
                </a:lnTo>
                <a:lnTo>
                  <a:pt x="3303312" y="4081558"/>
                </a:lnTo>
                <a:lnTo>
                  <a:pt x="3290833" y="4076533"/>
                </a:lnTo>
                <a:lnTo>
                  <a:pt x="3280850" y="4076533"/>
                </a:lnTo>
                <a:lnTo>
                  <a:pt x="3260883" y="4066480"/>
                </a:lnTo>
                <a:lnTo>
                  <a:pt x="3245906" y="4061451"/>
                </a:lnTo>
                <a:lnTo>
                  <a:pt x="3238417" y="4056426"/>
                </a:lnTo>
                <a:lnTo>
                  <a:pt x="3233427" y="4056426"/>
                </a:lnTo>
                <a:lnTo>
                  <a:pt x="3071190" y="3790017"/>
                </a:lnTo>
                <a:lnTo>
                  <a:pt x="3066197" y="3784992"/>
                </a:lnTo>
                <a:lnTo>
                  <a:pt x="3066197" y="3779964"/>
                </a:lnTo>
                <a:lnTo>
                  <a:pt x="3066197" y="3769911"/>
                </a:lnTo>
                <a:lnTo>
                  <a:pt x="3071190" y="3759858"/>
                </a:lnTo>
                <a:lnTo>
                  <a:pt x="3071190" y="3744780"/>
                </a:lnTo>
                <a:lnTo>
                  <a:pt x="3076181" y="3737237"/>
                </a:lnTo>
                <a:lnTo>
                  <a:pt x="3081174" y="3722159"/>
                </a:lnTo>
                <a:lnTo>
                  <a:pt x="3091157" y="3712106"/>
                </a:lnTo>
                <a:lnTo>
                  <a:pt x="3098646" y="3697025"/>
                </a:lnTo>
                <a:lnTo>
                  <a:pt x="3108629" y="3684461"/>
                </a:lnTo>
                <a:lnTo>
                  <a:pt x="3123606" y="3674408"/>
                </a:lnTo>
                <a:lnTo>
                  <a:pt x="3143573" y="3664355"/>
                </a:lnTo>
                <a:close/>
                <a:moveTo>
                  <a:pt x="1637371" y="3659326"/>
                </a:moveTo>
                <a:lnTo>
                  <a:pt x="1657335" y="3659326"/>
                </a:lnTo>
                <a:lnTo>
                  <a:pt x="1667316" y="3659326"/>
                </a:lnTo>
                <a:lnTo>
                  <a:pt x="1684784" y="3659326"/>
                </a:lnTo>
                <a:lnTo>
                  <a:pt x="1694768" y="3659326"/>
                </a:lnTo>
                <a:lnTo>
                  <a:pt x="1709738" y="3659326"/>
                </a:lnTo>
                <a:lnTo>
                  <a:pt x="1719722" y="3659326"/>
                </a:lnTo>
                <a:lnTo>
                  <a:pt x="1729702" y="3664355"/>
                </a:lnTo>
                <a:lnTo>
                  <a:pt x="1747171" y="3674408"/>
                </a:lnTo>
                <a:lnTo>
                  <a:pt x="1762144" y="3684461"/>
                </a:lnTo>
                <a:lnTo>
                  <a:pt x="1777118" y="3697025"/>
                </a:lnTo>
                <a:lnTo>
                  <a:pt x="1784603" y="3712106"/>
                </a:lnTo>
                <a:lnTo>
                  <a:pt x="1789593" y="3722159"/>
                </a:lnTo>
                <a:lnTo>
                  <a:pt x="1799577" y="3737237"/>
                </a:lnTo>
                <a:lnTo>
                  <a:pt x="1799577" y="3744780"/>
                </a:lnTo>
                <a:lnTo>
                  <a:pt x="1804567" y="3759858"/>
                </a:lnTo>
                <a:lnTo>
                  <a:pt x="1804567" y="3769911"/>
                </a:lnTo>
                <a:lnTo>
                  <a:pt x="1804567" y="3779964"/>
                </a:lnTo>
                <a:lnTo>
                  <a:pt x="1804567" y="3784992"/>
                </a:lnTo>
                <a:lnTo>
                  <a:pt x="1809557" y="3790017"/>
                </a:lnTo>
                <a:lnTo>
                  <a:pt x="1642362" y="4056426"/>
                </a:lnTo>
                <a:lnTo>
                  <a:pt x="1637371" y="4056426"/>
                </a:lnTo>
                <a:lnTo>
                  <a:pt x="1629886" y="4061451"/>
                </a:lnTo>
                <a:lnTo>
                  <a:pt x="1614913" y="4066480"/>
                </a:lnTo>
                <a:lnTo>
                  <a:pt x="1594949" y="4076533"/>
                </a:lnTo>
                <a:lnTo>
                  <a:pt x="1587464" y="4076533"/>
                </a:lnTo>
                <a:lnTo>
                  <a:pt x="1572490" y="4081558"/>
                </a:lnTo>
                <a:lnTo>
                  <a:pt x="1562507" y="4081558"/>
                </a:lnTo>
                <a:lnTo>
                  <a:pt x="1552526" y="4081558"/>
                </a:lnTo>
                <a:lnTo>
                  <a:pt x="1540048" y="4076533"/>
                </a:lnTo>
                <a:lnTo>
                  <a:pt x="1530067" y="4076533"/>
                </a:lnTo>
                <a:lnTo>
                  <a:pt x="1520084" y="4066480"/>
                </a:lnTo>
                <a:lnTo>
                  <a:pt x="1510104" y="4066480"/>
                </a:lnTo>
                <a:lnTo>
                  <a:pt x="1490140" y="4041345"/>
                </a:lnTo>
                <a:lnTo>
                  <a:pt x="1477661" y="4028778"/>
                </a:lnTo>
                <a:lnTo>
                  <a:pt x="1467681" y="4008672"/>
                </a:lnTo>
                <a:lnTo>
                  <a:pt x="1462688" y="3988565"/>
                </a:lnTo>
                <a:lnTo>
                  <a:pt x="1457698" y="3970973"/>
                </a:lnTo>
                <a:lnTo>
                  <a:pt x="1457698" y="3960920"/>
                </a:lnTo>
                <a:lnTo>
                  <a:pt x="1457698" y="3950867"/>
                </a:lnTo>
                <a:lnTo>
                  <a:pt x="1624893" y="3669380"/>
                </a:lnTo>
                <a:close/>
                <a:moveTo>
                  <a:pt x="3774940" y="3076246"/>
                </a:moveTo>
                <a:lnTo>
                  <a:pt x="3792535" y="3076246"/>
                </a:lnTo>
                <a:lnTo>
                  <a:pt x="4056430" y="3265938"/>
                </a:lnTo>
                <a:lnTo>
                  <a:pt x="4061455" y="3280915"/>
                </a:lnTo>
                <a:lnTo>
                  <a:pt x="4066483" y="3290899"/>
                </a:lnTo>
                <a:lnTo>
                  <a:pt x="4071508" y="3308371"/>
                </a:lnTo>
                <a:lnTo>
                  <a:pt x="4071508" y="3313361"/>
                </a:lnTo>
                <a:lnTo>
                  <a:pt x="4071508" y="3328337"/>
                </a:lnTo>
                <a:lnTo>
                  <a:pt x="4071508" y="3338321"/>
                </a:lnTo>
                <a:lnTo>
                  <a:pt x="4071508" y="3348304"/>
                </a:lnTo>
                <a:lnTo>
                  <a:pt x="4066483" y="3360786"/>
                </a:lnTo>
                <a:lnTo>
                  <a:pt x="4061455" y="3370770"/>
                </a:lnTo>
                <a:lnTo>
                  <a:pt x="4056430" y="3380753"/>
                </a:lnTo>
                <a:lnTo>
                  <a:pt x="4056430" y="3395730"/>
                </a:lnTo>
                <a:lnTo>
                  <a:pt x="4046377" y="3403215"/>
                </a:lnTo>
                <a:lnTo>
                  <a:pt x="4036324" y="3413198"/>
                </a:lnTo>
                <a:lnTo>
                  <a:pt x="4026271" y="3418192"/>
                </a:lnTo>
                <a:lnTo>
                  <a:pt x="4018729" y="3423185"/>
                </a:lnTo>
                <a:lnTo>
                  <a:pt x="4008676" y="3428175"/>
                </a:lnTo>
                <a:lnTo>
                  <a:pt x="3998622" y="3433169"/>
                </a:lnTo>
                <a:lnTo>
                  <a:pt x="3983544" y="3433169"/>
                </a:lnTo>
                <a:lnTo>
                  <a:pt x="3976005" y="3438159"/>
                </a:lnTo>
                <a:lnTo>
                  <a:pt x="3965952" y="3438159"/>
                </a:lnTo>
                <a:lnTo>
                  <a:pt x="3950871" y="3438159"/>
                </a:lnTo>
                <a:lnTo>
                  <a:pt x="3940818" y="3438159"/>
                </a:lnTo>
                <a:lnTo>
                  <a:pt x="3935793" y="3438159"/>
                </a:lnTo>
                <a:lnTo>
                  <a:pt x="3928251" y="3438159"/>
                </a:lnTo>
                <a:lnTo>
                  <a:pt x="3923226" y="3438159"/>
                </a:lnTo>
                <a:lnTo>
                  <a:pt x="3669383" y="3258450"/>
                </a:lnTo>
                <a:lnTo>
                  <a:pt x="3664355" y="3253460"/>
                </a:lnTo>
                <a:lnTo>
                  <a:pt x="3664355" y="3248467"/>
                </a:lnTo>
                <a:lnTo>
                  <a:pt x="3659330" y="3238483"/>
                </a:lnTo>
                <a:lnTo>
                  <a:pt x="3659330" y="3228500"/>
                </a:lnTo>
                <a:lnTo>
                  <a:pt x="3654302" y="3218516"/>
                </a:lnTo>
                <a:lnTo>
                  <a:pt x="3654302" y="3206038"/>
                </a:lnTo>
                <a:lnTo>
                  <a:pt x="3654302" y="3191061"/>
                </a:lnTo>
                <a:lnTo>
                  <a:pt x="3659330" y="3176084"/>
                </a:lnTo>
                <a:lnTo>
                  <a:pt x="3659330" y="3158612"/>
                </a:lnTo>
                <a:lnTo>
                  <a:pt x="3669383" y="3143639"/>
                </a:lnTo>
                <a:lnTo>
                  <a:pt x="3679437" y="3128662"/>
                </a:lnTo>
                <a:lnTo>
                  <a:pt x="3692004" y="3116183"/>
                </a:lnTo>
                <a:lnTo>
                  <a:pt x="3697029" y="3111190"/>
                </a:lnTo>
                <a:lnTo>
                  <a:pt x="3712110" y="3106200"/>
                </a:lnTo>
                <a:lnTo>
                  <a:pt x="3722163" y="3096213"/>
                </a:lnTo>
                <a:lnTo>
                  <a:pt x="3732216" y="3091223"/>
                </a:lnTo>
                <a:lnTo>
                  <a:pt x="3744780" y="3086230"/>
                </a:lnTo>
                <a:lnTo>
                  <a:pt x="3759862" y="3081240"/>
                </a:lnTo>
                <a:close/>
                <a:moveTo>
                  <a:pt x="1083217" y="3076246"/>
                </a:moveTo>
                <a:lnTo>
                  <a:pt x="1098295" y="3076246"/>
                </a:lnTo>
                <a:lnTo>
                  <a:pt x="1110862" y="3081240"/>
                </a:lnTo>
                <a:lnTo>
                  <a:pt x="1125944" y="3086230"/>
                </a:lnTo>
                <a:lnTo>
                  <a:pt x="1141022" y="3091223"/>
                </a:lnTo>
                <a:lnTo>
                  <a:pt x="1153589" y="3096213"/>
                </a:lnTo>
                <a:lnTo>
                  <a:pt x="1163642" y="3106200"/>
                </a:lnTo>
                <a:lnTo>
                  <a:pt x="1173695" y="3111190"/>
                </a:lnTo>
                <a:lnTo>
                  <a:pt x="1183748" y="3116183"/>
                </a:lnTo>
                <a:lnTo>
                  <a:pt x="1193801" y="3128662"/>
                </a:lnTo>
                <a:lnTo>
                  <a:pt x="1206369" y="3143639"/>
                </a:lnTo>
                <a:lnTo>
                  <a:pt x="1211394" y="3158612"/>
                </a:lnTo>
                <a:lnTo>
                  <a:pt x="1216422" y="3176084"/>
                </a:lnTo>
                <a:lnTo>
                  <a:pt x="1216422" y="3191061"/>
                </a:lnTo>
                <a:lnTo>
                  <a:pt x="1221447" y="3206038"/>
                </a:lnTo>
                <a:lnTo>
                  <a:pt x="1216422" y="3218516"/>
                </a:lnTo>
                <a:lnTo>
                  <a:pt x="1216422" y="3228500"/>
                </a:lnTo>
                <a:lnTo>
                  <a:pt x="1211394" y="3238483"/>
                </a:lnTo>
                <a:lnTo>
                  <a:pt x="1211394" y="3248467"/>
                </a:lnTo>
                <a:lnTo>
                  <a:pt x="1211394" y="3253460"/>
                </a:lnTo>
                <a:lnTo>
                  <a:pt x="1211394" y="3258450"/>
                </a:lnTo>
                <a:lnTo>
                  <a:pt x="957551" y="3438159"/>
                </a:lnTo>
                <a:lnTo>
                  <a:pt x="950012" y="3438159"/>
                </a:lnTo>
                <a:lnTo>
                  <a:pt x="939959" y="3438159"/>
                </a:lnTo>
                <a:lnTo>
                  <a:pt x="919853" y="3438159"/>
                </a:lnTo>
                <a:lnTo>
                  <a:pt x="904775" y="3438159"/>
                </a:lnTo>
                <a:lnTo>
                  <a:pt x="892208" y="3433169"/>
                </a:lnTo>
                <a:lnTo>
                  <a:pt x="882155" y="3433169"/>
                </a:lnTo>
                <a:lnTo>
                  <a:pt x="872101" y="3428175"/>
                </a:lnTo>
                <a:lnTo>
                  <a:pt x="862048" y="3423185"/>
                </a:lnTo>
                <a:lnTo>
                  <a:pt x="849481" y="3418192"/>
                </a:lnTo>
                <a:lnTo>
                  <a:pt x="844456" y="3413198"/>
                </a:lnTo>
                <a:lnTo>
                  <a:pt x="834403" y="3403215"/>
                </a:lnTo>
                <a:lnTo>
                  <a:pt x="829375" y="3395730"/>
                </a:lnTo>
                <a:lnTo>
                  <a:pt x="819322" y="3380753"/>
                </a:lnTo>
                <a:lnTo>
                  <a:pt x="814297" y="3370770"/>
                </a:lnTo>
                <a:lnTo>
                  <a:pt x="814297" y="3360786"/>
                </a:lnTo>
                <a:lnTo>
                  <a:pt x="809269" y="3348304"/>
                </a:lnTo>
                <a:lnTo>
                  <a:pt x="809269" y="3338321"/>
                </a:lnTo>
                <a:lnTo>
                  <a:pt x="809269" y="3328337"/>
                </a:lnTo>
                <a:lnTo>
                  <a:pt x="809269" y="3313361"/>
                </a:lnTo>
                <a:lnTo>
                  <a:pt x="809269" y="3308371"/>
                </a:lnTo>
                <a:lnTo>
                  <a:pt x="809269" y="3290899"/>
                </a:lnTo>
                <a:lnTo>
                  <a:pt x="814297" y="3280915"/>
                </a:lnTo>
                <a:lnTo>
                  <a:pt x="814297" y="3265938"/>
                </a:lnTo>
                <a:lnTo>
                  <a:pt x="819322" y="3265938"/>
                </a:lnTo>
                <a:close/>
                <a:moveTo>
                  <a:pt x="650509" y="2294616"/>
                </a:moveTo>
                <a:lnTo>
                  <a:pt x="962954" y="2294616"/>
                </a:lnTo>
                <a:lnTo>
                  <a:pt x="967954" y="2294616"/>
                </a:lnTo>
                <a:lnTo>
                  <a:pt x="982950" y="2309362"/>
                </a:lnTo>
                <a:lnTo>
                  <a:pt x="992949" y="2314276"/>
                </a:lnTo>
                <a:lnTo>
                  <a:pt x="1000447" y="2324108"/>
                </a:lnTo>
                <a:lnTo>
                  <a:pt x="1005446" y="2333936"/>
                </a:lnTo>
                <a:lnTo>
                  <a:pt x="1020445" y="2351139"/>
                </a:lnTo>
                <a:lnTo>
                  <a:pt x="1020445" y="2365881"/>
                </a:lnTo>
                <a:lnTo>
                  <a:pt x="1030442" y="2380627"/>
                </a:lnTo>
                <a:lnTo>
                  <a:pt x="1025442" y="2397829"/>
                </a:lnTo>
                <a:lnTo>
                  <a:pt x="1025442" y="2417489"/>
                </a:lnTo>
                <a:lnTo>
                  <a:pt x="1020445" y="2427318"/>
                </a:lnTo>
                <a:lnTo>
                  <a:pt x="1020445" y="2437149"/>
                </a:lnTo>
                <a:lnTo>
                  <a:pt x="1015446" y="2444520"/>
                </a:lnTo>
                <a:lnTo>
                  <a:pt x="1005446" y="2459266"/>
                </a:lnTo>
                <a:lnTo>
                  <a:pt x="1000447" y="2469094"/>
                </a:lnTo>
                <a:lnTo>
                  <a:pt x="992949" y="2483840"/>
                </a:lnTo>
                <a:lnTo>
                  <a:pt x="982950" y="2496125"/>
                </a:lnTo>
                <a:lnTo>
                  <a:pt x="972953" y="2505957"/>
                </a:lnTo>
                <a:lnTo>
                  <a:pt x="650509" y="2515785"/>
                </a:lnTo>
                <a:lnTo>
                  <a:pt x="645510" y="2510871"/>
                </a:lnTo>
                <a:lnTo>
                  <a:pt x="635514" y="2505957"/>
                </a:lnTo>
                <a:lnTo>
                  <a:pt x="625514" y="2496125"/>
                </a:lnTo>
                <a:lnTo>
                  <a:pt x="613017" y="2486297"/>
                </a:lnTo>
                <a:lnTo>
                  <a:pt x="603018" y="2469094"/>
                </a:lnTo>
                <a:lnTo>
                  <a:pt x="588022" y="2449434"/>
                </a:lnTo>
                <a:lnTo>
                  <a:pt x="583022" y="2439606"/>
                </a:lnTo>
                <a:lnTo>
                  <a:pt x="578023" y="2432232"/>
                </a:lnTo>
                <a:lnTo>
                  <a:pt x="573023" y="2417489"/>
                </a:lnTo>
                <a:lnTo>
                  <a:pt x="573023" y="2407658"/>
                </a:lnTo>
                <a:lnTo>
                  <a:pt x="573023" y="2392915"/>
                </a:lnTo>
                <a:lnTo>
                  <a:pt x="573023" y="2380627"/>
                </a:lnTo>
                <a:lnTo>
                  <a:pt x="578023" y="2370798"/>
                </a:lnTo>
                <a:lnTo>
                  <a:pt x="583022" y="2360967"/>
                </a:lnTo>
                <a:lnTo>
                  <a:pt x="593021" y="2343764"/>
                </a:lnTo>
                <a:lnTo>
                  <a:pt x="613017" y="2324108"/>
                </a:lnTo>
                <a:lnTo>
                  <a:pt x="620515" y="2309362"/>
                </a:lnTo>
                <a:lnTo>
                  <a:pt x="640510" y="2299530"/>
                </a:lnTo>
                <a:close/>
                <a:moveTo>
                  <a:pt x="3918197" y="1397374"/>
                </a:moveTo>
                <a:lnTo>
                  <a:pt x="3923226" y="1397374"/>
                </a:lnTo>
                <a:lnTo>
                  <a:pt x="3930765" y="1397374"/>
                </a:lnTo>
                <a:lnTo>
                  <a:pt x="3935793" y="1397374"/>
                </a:lnTo>
                <a:lnTo>
                  <a:pt x="3945846" y="1397374"/>
                </a:lnTo>
                <a:lnTo>
                  <a:pt x="3955899" y="1397374"/>
                </a:lnTo>
                <a:lnTo>
                  <a:pt x="3970977" y="1397374"/>
                </a:lnTo>
                <a:lnTo>
                  <a:pt x="3978516" y="1397374"/>
                </a:lnTo>
                <a:lnTo>
                  <a:pt x="3988569" y="1402402"/>
                </a:lnTo>
                <a:lnTo>
                  <a:pt x="3998622" y="1402402"/>
                </a:lnTo>
                <a:lnTo>
                  <a:pt x="4013704" y="1412455"/>
                </a:lnTo>
                <a:lnTo>
                  <a:pt x="4023757" y="1417480"/>
                </a:lnTo>
                <a:lnTo>
                  <a:pt x="4031296" y="1422508"/>
                </a:lnTo>
                <a:lnTo>
                  <a:pt x="4036324" y="1435075"/>
                </a:lnTo>
                <a:lnTo>
                  <a:pt x="4046377" y="1445129"/>
                </a:lnTo>
                <a:lnTo>
                  <a:pt x="4056430" y="1465235"/>
                </a:lnTo>
                <a:lnTo>
                  <a:pt x="4066483" y="1482827"/>
                </a:lnTo>
                <a:lnTo>
                  <a:pt x="4066483" y="1497905"/>
                </a:lnTo>
                <a:lnTo>
                  <a:pt x="4066483" y="1507958"/>
                </a:lnTo>
                <a:lnTo>
                  <a:pt x="4066483" y="1518011"/>
                </a:lnTo>
                <a:lnTo>
                  <a:pt x="4071508" y="1525553"/>
                </a:lnTo>
                <a:lnTo>
                  <a:pt x="4066483" y="1545660"/>
                </a:lnTo>
                <a:lnTo>
                  <a:pt x="4061455" y="1555713"/>
                </a:lnTo>
                <a:lnTo>
                  <a:pt x="4056430" y="1568277"/>
                </a:lnTo>
                <a:lnTo>
                  <a:pt x="3792535" y="1764314"/>
                </a:lnTo>
                <a:lnTo>
                  <a:pt x="3774940" y="1761800"/>
                </a:lnTo>
                <a:lnTo>
                  <a:pt x="3759862" y="1756775"/>
                </a:lnTo>
                <a:lnTo>
                  <a:pt x="3744780" y="1751747"/>
                </a:lnTo>
                <a:lnTo>
                  <a:pt x="3732216" y="1751747"/>
                </a:lnTo>
                <a:lnTo>
                  <a:pt x="3722163" y="1741694"/>
                </a:lnTo>
                <a:lnTo>
                  <a:pt x="3712110" y="1736669"/>
                </a:lnTo>
                <a:lnTo>
                  <a:pt x="3697029" y="1731641"/>
                </a:lnTo>
                <a:lnTo>
                  <a:pt x="3692004" y="1726616"/>
                </a:lnTo>
                <a:lnTo>
                  <a:pt x="3679437" y="1714049"/>
                </a:lnTo>
                <a:lnTo>
                  <a:pt x="3669383" y="1698971"/>
                </a:lnTo>
                <a:lnTo>
                  <a:pt x="3659330" y="1683889"/>
                </a:lnTo>
                <a:lnTo>
                  <a:pt x="3659330" y="1668811"/>
                </a:lnTo>
                <a:lnTo>
                  <a:pt x="3654302" y="1651216"/>
                </a:lnTo>
                <a:lnTo>
                  <a:pt x="3654302" y="1641163"/>
                </a:lnTo>
                <a:lnTo>
                  <a:pt x="3659330" y="1626085"/>
                </a:lnTo>
                <a:lnTo>
                  <a:pt x="3659330" y="1616032"/>
                </a:lnTo>
                <a:lnTo>
                  <a:pt x="3659330" y="1603464"/>
                </a:lnTo>
                <a:lnTo>
                  <a:pt x="3664355" y="1598439"/>
                </a:lnTo>
                <a:lnTo>
                  <a:pt x="3664355" y="1593411"/>
                </a:lnTo>
                <a:lnTo>
                  <a:pt x="3669383" y="1593411"/>
                </a:lnTo>
                <a:close/>
                <a:moveTo>
                  <a:pt x="870113" y="1397374"/>
                </a:moveTo>
                <a:lnTo>
                  <a:pt x="885286" y="1397374"/>
                </a:lnTo>
                <a:lnTo>
                  <a:pt x="902986" y="1397374"/>
                </a:lnTo>
                <a:lnTo>
                  <a:pt x="918159" y="1397374"/>
                </a:lnTo>
                <a:lnTo>
                  <a:pt x="933332" y="1397374"/>
                </a:lnTo>
                <a:lnTo>
                  <a:pt x="938389" y="1397374"/>
                </a:lnTo>
                <a:lnTo>
                  <a:pt x="1193789" y="1593411"/>
                </a:lnTo>
                <a:lnTo>
                  <a:pt x="1193789" y="1598439"/>
                </a:lnTo>
                <a:lnTo>
                  <a:pt x="1193789" y="1603464"/>
                </a:lnTo>
                <a:lnTo>
                  <a:pt x="1196315" y="1616032"/>
                </a:lnTo>
                <a:lnTo>
                  <a:pt x="1196315" y="1626085"/>
                </a:lnTo>
                <a:lnTo>
                  <a:pt x="1196315" y="1641163"/>
                </a:lnTo>
                <a:lnTo>
                  <a:pt x="1196315" y="1651216"/>
                </a:lnTo>
                <a:lnTo>
                  <a:pt x="1196315" y="1668811"/>
                </a:lnTo>
                <a:lnTo>
                  <a:pt x="1193789" y="1683889"/>
                </a:lnTo>
                <a:lnTo>
                  <a:pt x="1183672" y="1698971"/>
                </a:lnTo>
                <a:lnTo>
                  <a:pt x="1173559" y="1714049"/>
                </a:lnTo>
                <a:lnTo>
                  <a:pt x="1163443" y="1726616"/>
                </a:lnTo>
                <a:lnTo>
                  <a:pt x="1153329" y="1731641"/>
                </a:lnTo>
                <a:lnTo>
                  <a:pt x="1140686" y="1736669"/>
                </a:lnTo>
                <a:lnTo>
                  <a:pt x="1130570" y="1741694"/>
                </a:lnTo>
                <a:lnTo>
                  <a:pt x="1120456" y="1751747"/>
                </a:lnTo>
                <a:lnTo>
                  <a:pt x="1105283" y="1751747"/>
                </a:lnTo>
                <a:lnTo>
                  <a:pt x="1092640" y="1756775"/>
                </a:lnTo>
                <a:lnTo>
                  <a:pt x="1077467" y="1761800"/>
                </a:lnTo>
                <a:lnTo>
                  <a:pt x="1062294" y="1764314"/>
                </a:lnTo>
                <a:lnTo>
                  <a:pt x="799311" y="1568277"/>
                </a:lnTo>
                <a:lnTo>
                  <a:pt x="794254" y="1568277"/>
                </a:lnTo>
                <a:lnTo>
                  <a:pt x="789194" y="1555713"/>
                </a:lnTo>
                <a:lnTo>
                  <a:pt x="789194" y="1545660"/>
                </a:lnTo>
                <a:lnTo>
                  <a:pt x="789194" y="1525553"/>
                </a:lnTo>
                <a:lnTo>
                  <a:pt x="784137" y="1518011"/>
                </a:lnTo>
                <a:lnTo>
                  <a:pt x="784137" y="1507958"/>
                </a:lnTo>
                <a:lnTo>
                  <a:pt x="784137" y="1497905"/>
                </a:lnTo>
                <a:lnTo>
                  <a:pt x="789194" y="1482827"/>
                </a:lnTo>
                <a:lnTo>
                  <a:pt x="794254" y="1465235"/>
                </a:lnTo>
                <a:lnTo>
                  <a:pt x="801840" y="1445129"/>
                </a:lnTo>
                <a:lnTo>
                  <a:pt x="811954" y="1435075"/>
                </a:lnTo>
                <a:lnTo>
                  <a:pt x="817010" y="1422508"/>
                </a:lnTo>
                <a:lnTo>
                  <a:pt x="827127" y="1417480"/>
                </a:lnTo>
                <a:lnTo>
                  <a:pt x="837240" y="1412455"/>
                </a:lnTo>
                <a:lnTo>
                  <a:pt x="847357" y="1402402"/>
                </a:lnTo>
                <a:lnTo>
                  <a:pt x="860000" y="1402402"/>
                </a:lnTo>
                <a:close/>
                <a:moveTo>
                  <a:pt x="3001594" y="1380233"/>
                </a:moveTo>
                <a:cubicBezTo>
                  <a:pt x="3018790" y="1383172"/>
                  <a:pt x="3035693" y="1389532"/>
                  <a:pt x="3051309" y="1399530"/>
                </a:cubicBezTo>
                <a:cubicBezTo>
                  <a:pt x="3113774" y="1439522"/>
                  <a:pt x="3131992" y="1522578"/>
                  <a:pt x="3092000" y="1585043"/>
                </a:cubicBezTo>
                <a:lnTo>
                  <a:pt x="2675803" y="2235120"/>
                </a:lnTo>
                <a:lnTo>
                  <a:pt x="2702736" y="2279511"/>
                </a:lnTo>
                <a:lnTo>
                  <a:pt x="2705100" y="2287126"/>
                </a:lnTo>
                <a:lnTo>
                  <a:pt x="4182142" y="2287126"/>
                </a:lnTo>
                <a:lnTo>
                  <a:pt x="4219241" y="2294616"/>
                </a:lnTo>
                <a:lnTo>
                  <a:pt x="4232729" y="2294616"/>
                </a:lnTo>
                <a:lnTo>
                  <a:pt x="4237729" y="2294616"/>
                </a:lnTo>
                <a:lnTo>
                  <a:pt x="4252725" y="2309362"/>
                </a:lnTo>
                <a:lnTo>
                  <a:pt x="4262724" y="2314276"/>
                </a:lnTo>
                <a:lnTo>
                  <a:pt x="4270222" y="2324108"/>
                </a:lnTo>
                <a:lnTo>
                  <a:pt x="4275221" y="2333936"/>
                </a:lnTo>
                <a:lnTo>
                  <a:pt x="4290220" y="2351139"/>
                </a:lnTo>
                <a:lnTo>
                  <a:pt x="4290220" y="2358176"/>
                </a:lnTo>
                <a:lnTo>
                  <a:pt x="4290938" y="2359241"/>
                </a:lnTo>
                <a:lnTo>
                  <a:pt x="4293152" y="2370206"/>
                </a:lnTo>
                <a:lnTo>
                  <a:pt x="4300217" y="2380627"/>
                </a:lnTo>
                <a:lnTo>
                  <a:pt x="4297290" y="2390700"/>
                </a:lnTo>
                <a:lnTo>
                  <a:pt x="4300217" y="2405201"/>
                </a:lnTo>
                <a:lnTo>
                  <a:pt x="4300216" y="2405201"/>
                </a:lnTo>
                <a:cubicBezTo>
                  <a:pt x="4300216" y="2437807"/>
                  <a:pt x="4287000" y="2467325"/>
                  <a:pt x="4265633" y="2488693"/>
                </a:cubicBezTo>
                <a:lnTo>
                  <a:pt x="4248618" y="2500164"/>
                </a:lnTo>
                <a:lnTo>
                  <a:pt x="4242728" y="2505957"/>
                </a:lnTo>
                <a:lnTo>
                  <a:pt x="4239898" y="2506043"/>
                </a:lnTo>
                <a:lnTo>
                  <a:pt x="4228101" y="2513997"/>
                </a:lnTo>
                <a:cubicBezTo>
                  <a:pt x="4213975" y="2519972"/>
                  <a:pt x="4198444" y="2523276"/>
                  <a:pt x="4182141" y="2523276"/>
                </a:cubicBezTo>
                <a:lnTo>
                  <a:pt x="2705099" y="2523275"/>
                </a:lnTo>
                <a:lnTo>
                  <a:pt x="2702736" y="2530890"/>
                </a:lnTo>
                <a:cubicBezTo>
                  <a:pt x="2653716" y="2646785"/>
                  <a:pt x="2538957" y="2728106"/>
                  <a:pt x="2405204" y="2728106"/>
                </a:cubicBezTo>
                <a:lnTo>
                  <a:pt x="2362260" y="2724857"/>
                </a:lnTo>
                <a:lnTo>
                  <a:pt x="2288654" y="2839825"/>
                </a:lnTo>
                <a:cubicBezTo>
                  <a:pt x="2248662" y="2902290"/>
                  <a:pt x="2165606" y="2920508"/>
                  <a:pt x="2103141" y="2880516"/>
                </a:cubicBezTo>
                <a:cubicBezTo>
                  <a:pt x="2040676" y="2840524"/>
                  <a:pt x="2022458" y="2757468"/>
                  <a:pt x="2062450" y="2695003"/>
                </a:cubicBezTo>
                <a:lnTo>
                  <a:pt x="2136792" y="2578885"/>
                </a:lnTo>
                <a:lnTo>
                  <a:pt x="2107673" y="2530890"/>
                </a:lnTo>
                <a:lnTo>
                  <a:pt x="2105309" y="2523275"/>
                </a:lnTo>
                <a:lnTo>
                  <a:pt x="1997498" y="2523275"/>
                </a:lnTo>
                <a:cubicBezTo>
                  <a:pt x="1948590" y="2523275"/>
                  <a:pt x="1906627" y="2493539"/>
                  <a:pt x="1888702" y="2451160"/>
                </a:cubicBezTo>
                <a:lnTo>
                  <a:pt x="1879423" y="2405201"/>
                </a:lnTo>
                <a:lnTo>
                  <a:pt x="1888702" y="2359241"/>
                </a:lnTo>
                <a:cubicBezTo>
                  <a:pt x="1906627" y="2316862"/>
                  <a:pt x="1948590" y="2287126"/>
                  <a:pt x="1997498" y="2287126"/>
                </a:cubicBezTo>
                <a:lnTo>
                  <a:pt x="2105309" y="2287126"/>
                </a:lnTo>
                <a:lnTo>
                  <a:pt x="2107673" y="2279511"/>
                </a:lnTo>
                <a:cubicBezTo>
                  <a:pt x="2156693" y="2163615"/>
                  <a:pt x="2271452" y="2082294"/>
                  <a:pt x="2405204" y="2082294"/>
                </a:cubicBezTo>
                <a:lnTo>
                  <a:pt x="2452436" y="2085868"/>
                </a:lnTo>
                <a:lnTo>
                  <a:pt x="2865796" y="1440221"/>
                </a:lnTo>
                <a:cubicBezTo>
                  <a:pt x="2895790" y="1393372"/>
                  <a:pt x="2950008" y="1371413"/>
                  <a:pt x="3001594" y="1380233"/>
                </a:cubicBezTo>
                <a:close/>
                <a:moveTo>
                  <a:pt x="3280793" y="764029"/>
                </a:moveTo>
                <a:lnTo>
                  <a:pt x="3293271" y="764029"/>
                </a:lnTo>
                <a:lnTo>
                  <a:pt x="3303255" y="764029"/>
                </a:lnTo>
                <a:lnTo>
                  <a:pt x="3318228" y="764029"/>
                </a:lnTo>
                <a:lnTo>
                  <a:pt x="3328212" y="764029"/>
                </a:lnTo>
                <a:lnTo>
                  <a:pt x="3338195" y="769086"/>
                </a:lnTo>
                <a:lnTo>
                  <a:pt x="3345680" y="774142"/>
                </a:lnTo>
                <a:lnTo>
                  <a:pt x="3360657" y="784256"/>
                </a:lnTo>
                <a:lnTo>
                  <a:pt x="3375631" y="796899"/>
                </a:lnTo>
                <a:lnTo>
                  <a:pt x="3390604" y="817125"/>
                </a:lnTo>
                <a:lnTo>
                  <a:pt x="3398093" y="837352"/>
                </a:lnTo>
                <a:lnTo>
                  <a:pt x="3408073" y="855049"/>
                </a:lnTo>
                <a:lnTo>
                  <a:pt x="3408073" y="870219"/>
                </a:lnTo>
                <a:lnTo>
                  <a:pt x="3413066" y="885388"/>
                </a:lnTo>
                <a:lnTo>
                  <a:pt x="3413066" y="892975"/>
                </a:lnTo>
                <a:lnTo>
                  <a:pt x="3418056" y="898032"/>
                </a:lnTo>
                <a:lnTo>
                  <a:pt x="3245852" y="1181203"/>
                </a:lnTo>
                <a:lnTo>
                  <a:pt x="3228383" y="1181203"/>
                </a:lnTo>
                <a:lnTo>
                  <a:pt x="3213410" y="1186259"/>
                </a:lnTo>
                <a:lnTo>
                  <a:pt x="3195938" y="1186259"/>
                </a:lnTo>
                <a:lnTo>
                  <a:pt x="3185954" y="1186259"/>
                </a:lnTo>
                <a:lnTo>
                  <a:pt x="3170981" y="1186259"/>
                </a:lnTo>
                <a:lnTo>
                  <a:pt x="3160997" y="1181203"/>
                </a:lnTo>
                <a:lnTo>
                  <a:pt x="3148519" y="1181203"/>
                </a:lnTo>
                <a:lnTo>
                  <a:pt x="3138538" y="1181203"/>
                </a:lnTo>
                <a:lnTo>
                  <a:pt x="3118572" y="1173619"/>
                </a:lnTo>
                <a:lnTo>
                  <a:pt x="3103598" y="1163506"/>
                </a:lnTo>
                <a:lnTo>
                  <a:pt x="3096110" y="1153393"/>
                </a:lnTo>
                <a:lnTo>
                  <a:pt x="3086126" y="1138223"/>
                </a:lnTo>
                <a:lnTo>
                  <a:pt x="3076143" y="1125580"/>
                </a:lnTo>
                <a:lnTo>
                  <a:pt x="3071152" y="1110410"/>
                </a:lnTo>
                <a:lnTo>
                  <a:pt x="3066162" y="1100296"/>
                </a:lnTo>
                <a:lnTo>
                  <a:pt x="3066162" y="1085126"/>
                </a:lnTo>
                <a:lnTo>
                  <a:pt x="3061169" y="1072484"/>
                </a:lnTo>
                <a:lnTo>
                  <a:pt x="3066162" y="1062371"/>
                </a:lnTo>
                <a:lnTo>
                  <a:pt x="3223390" y="791842"/>
                </a:lnTo>
                <a:lnTo>
                  <a:pt x="3228383" y="789312"/>
                </a:lnTo>
                <a:lnTo>
                  <a:pt x="3238367" y="784256"/>
                </a:lnTo>
                <a:lnTo>
                  <a:pt x="3243357" y="779199"/>
                </a:lnTo>
                <a:lnTo>
                  <a:pt x="3250845" y="774142"/>
                </a:lnTo>
                <a:lnTo>
                  <a:pt x="3260826" y="769086"/>
                </a:lnTo>
                <a:lnTo>
                  <a:pt x="3270809" y="769086"/>
                </a:lnTo>
                <a:close/>
                <a:moveTo>
                  <a:pt x="1529950" y="764029"/>
                </a:moveTo>
                <a:lnTo>
                  <a:pt x="1542426" y="764029"/>
                </a:lnTo>
                <a:lnTo>
                  <a:pt x="1552406" y="764029"/>
                </a:lnTo>
                <a:lnTo>
                  <a:pt x="1562386" y="764029"/>
                </a:lnTo>
                <a:lnTo>
                  <a:pt x="1577360" y="764029"/>
                </a:lnTo>
                <a:lnTo>
                  <a:pt x="1587340" y="769086"/>
                </a:lnTo>
                <a:lnTo>
                  <a:pt x="1604806" y="774142"/>
                </a:lnTo>
                <a:lnTo>
                  <a:pt x="1619776" y="784256"/>
                </a:lnTo>
                <a:lnTo>
                  <a:pt x="1629756" y="789312"/>
                </a:lnTo>
                <a:lnTo>
                  <a:pt x="1637245" y="791842"/>
                </a:lnTo>
                <a:lnTo>
                  <a:pt x="1789451" y="1062371"/>
                </a:lnTo>
                <a:lnTo>
                  <a:pt x="1789451" y="1072484"/>
                </a:lnTo>
                <a:lnTo>
                  <a:pt x="1789451" y="1085126"/>
                </a:lnTo>
                <a:lnTo>
                  <a:pt x="1784460" y="1100296"/>
                </a:lnTo>
                <a:lnTo>
                  <a:pt x="1781965" y="1110410"/>
                </a:lnTo>
                <a:lnTo>
                  <a:pt x="1776975" y="1125580"/>
                </a:lnTo>
                <a:lnTo>
                  <a:pt x="1771985" y="1138223"/>
                </a:lnTo>
                <a:lnTo>
                  <a:pt x="1757015" y="1153393"/>
                </a:lnTo>
                <a:lnTo>
                  <a:pt x="1747034" y="1163506"/>
                </a:lnTo>
                <a:lnTo>
                  <a:pt x="1729566" y="1173619"/>
                </a:lnTo>
                <a:lnTo>
                  <a:pt x="1714595" y="1181203"/>
                </a:lnTo>
                <a:lnTo>
                  <a:pt x="1704615" y="1181203"/>
                </a:lnTo>
                <a:lnTo>
                  <a:pt x="1689645" y="1181203"/>
                </a:lnTo>
                <a:lnTo>
                  <a:pt x="1677166" y="1186259"/>
                </a:lnTo>
                <a:lnTo>
                  <a:pt x="1667186" y="1186259"/>
                </a:lnTo>
                <a:lnTo>
                  <a:pt x="1652215" y="1186259"/>
                </a:lnTo>
                <a:lnTo>
                  <a:pt x="1637245" y="1186259"/>
                </a:lnTo>
                <a:lnTo>
                  <a:pt x="1624766" y="1181203"/>
                </a:lnTo>
                <a:lnTo>
                  <a:pt x="1604806" y="1181203"/>
                </a:lnTo>
                <a:lnTo>
                  <a:pt x="1442616" y="898032"/>
                </a:lnTo>
                <a:lnTo>
                  <a:pt x="1442616" y="892975"/>
                </a:lnTo>
                <a:lnTo>
                  <a:pt x="1442616" y="885389"/>
                </a:lnTo>
                <a:lnTo>
                  <a:pt x="1442616" y="870219"/>
                </a:lnTo>
                <a:lnTo>
                  <a:pt x="1447606" y="855049"/>
                </a:lnTo>
                <a:lnTo>
                  <a:pt x="1452597" y="837352"/>
                </a:lnTo>
                <a:lnTo>
                  <a:pt x="1462580" y="817125"/>
                </a:lnTo>
                <a:lnTo>
                  <a:pt x="1477551" y="796899"/>
                </a:lnTo>
                <a:lnTo>
                  <a:pt x="1495016" y="784256"/>
                </a:lnTo>
                <a:lnTo>
                  <a:pt x="1504996" y="774142"/>
                </a:lnTo>
                <a:lnTo>
                  <a:pt x="1519970" y="769086"/>
                </a:lnTo>
                <a:close/>
                <a:moveTo>
                  <a:pt x="2372531" y="517730"/>
                </a:moveTo>
                <a:lnTo>
                  <a:pt x="2387609" y="517730"/>
                </a:lnTo>
                <a:lnTo>
                  <a:pt x="2402690" y="522730"/>
                </a:lnTo>
                <a:lnTo>
                  <a:pt x="2412743" y="522730"/>
                </a:lnTo>
                <a:lnTo>
                  <a:pt x="2420282" y="522730"/>
                </a:lnTo>
                <a:lnTo>
                  <a:pt x="2435360" y="527729"/>
                </a:lnTo>
                <a:lnTo>
                  <a:pt x="2445413" y="532729"/>
                </a:lnTo>
                <a:lnTo>
                  <a:pt x="2460495" y="547725"/>
                </a:lnTo>
                <a:lnTo>
                  <a:pt x="2478087" y="560222"/>
                </a:lnTo>
                <a:lnTo>
                  <a:pt x="2488140" y="570222"/>
                </a:lnTo>
                <a:lnTo>
                  <a:pt x="2498193" y="585217"/>
                </a:lnTo>
                <a:lnTo>
                  <a:pt x="2508246" y="590217"/>
                </a:lnTo>
                <a:lnTo>
                  <a:pt x="2508246" y="595217"/>
                </a:lnTo>
                <a:lnTo>
                  <a:pt x="2508246" y="917661"/>
                </a:lnTo>
                <a:lnTo>
                  <a:pt x="2488140" y="927657"/>
                </a:lnTo>
                <a:lnTo>
                  <a:pt x="2478087" y="937656"/>
                </a:lnTo>
                <a:lnTo>
                  <a:pt x="2465520" y="945153"/>
                </a:lnTo>
                <a:lnTo>
                  <a:pt x="2455467" y="955153"/>
                </a:lnTo>
                <a:lnTo>
                  <a:pt x="2440388" y="960153"/>
                </a:lnTo>
                <a:lnTo>
                  <a:pt x="2430335" y="965149"/>
                </a:lnTo>
                <a:lnTo>
                  <a:pt x="2420282" y="970148"/>
                </a:lnTo>
                <a:lnTo>
                  <a:pt x="2412743" y="975148"/>
                </a:lnTo>
                <a:lnTo>
                  <a:pt x="2387609" y="975148"/>
                </a:lnTo>
                <a:lnTo>
                  <a:pt x="2372531" y="975148"/>
                </a:lnTo>
                <a:lnTo>
                  <a:pt x="2354935" y="965149"/>
                </a:lnTo>
                <a:lnTo>
                  <a:pt x="2344882" y="965149"/>
                </a:lnTo>
                <a:lnTo>
                  <a:pt x="2324776" y="955153"/>
                </a:lnTo>
                <a:lnTo>
                  <a:pt x="2317237" y="945153"/>
                </a:lnTo>
                <a:lnTo>
                  <a:pt x="2307184" y="937656"/>
                </a:lnTo>
                <a:lnTo>
                  <a:pt x="2302159" y="927657"/>
                </a:lnTo>
                <a:lnTo>
                  <a:pt x="2287078" y="912660"/>
                </a:lnTo>
                <a:lnTo>
                  <a:pt x="2287078" y="907660"/>
                </a:lnTo>
                <a:lnTo>
                  <a:pt x="2287078" y="600216"/>
                </a:lnTo>
                <a:lnTo>
                  <a:pt x="2287078" y="595217"/>
                </a:lnTo>
                <a:lnTo>
                  <a:pt x="2292106" y="585217"/>
                </a:lnTo>
                <a:lnTo>
                  <a:pt x="2302159" y="570222"/>
                </a:lnTo>
                <a:lnTo>
                  <a:pt x="2317237" y="555223"/>
                </a:lnTo>
                <a:lnTo>
                  <a:pt x="2334829" y="537725"/>
                </a:lnTo>
                <a:lnTo>
                  <a:pt x="2354935" y="527729"/>
                </a:lnTo>
                <a:lnTo>
                  <a:pt x="2364988" y="522730"/>
                </a:lnTo>
                <a:close/>
                <a:moveTo>
                  <a:pt x="2405204" y="310321"/>
                </a:moveTo>
                <a:cubicBezTo>
                  <a:pt x="1248231" y="310321"/>
                  <a:pt x="310320" y="1248230"/>
                  <a:pt x="310320" y="2405200"/>
                </a:cubicBezTo>
                <a:cubicBezTo>
                  <a:pt x="310320" y="3562171"/>
                  <a:pt x="1248231" y="4500081"/>
                  <a:pt x="2405204" y="4500081"/>
                </a:cubicBezTo>
                <a:cubicBezTo>
                  <a:pt x="3562178" y="4500081"/>
                  <a:pt x="4500088" y="3562171"/>
                  <a:pt x="4500088" y="2405200"/>
                </a:cubicBezTo>
                <a:cubicBezTo>
                  <a:pt x="4500088" y="1248230"/>
                  <a:pt x="3562178" y="310321"/>
                  <a:pt x="2405204" y="310321"/>
                </a:cubicBezTo>
                <a:close/>
                <a:moveTo>
                  <a:pt x="2405204" y="0"/>
                </a:moveTo>
                <a:cubicBezTo>
                  <a:pt x="3733562" y="0"/>
                  <a:pt x="4810408" y="1076845"/>
                  <a:pt x="4810408" y="2405200"/>
                </a:cubicBezTo>
                <a:cubicBezTo>
                  <a:pt x="4810408" y="3733555"/>
                  <a:pt x="3733562" y="4810401"/>
                  <a:pt x="2405204" y="4810401"/>
                </a:cubicBezTo>
                <a:cubicBezTo>
                  <a:pt x="1076846" y="4810401"/>
                  <a:pt x="0" y="3733555"/>
                  <a:pt x="0" y="2405200"/>
                </a:cubicBezTo>
                <a:cubicBezTo>
                  <a:pt x="0" y="1076845"/>
                  <a:pt x="1076846" y="0"/>
                  <a:pt x="24052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3604993" y="1729296"/>
            <a:ext cx="446783" cy="446783"/>
            <a:chOff x="7468013" y="1931193"/>
            <a:chExt cx="446783" cy="446783"/>
          </a:xfrm>
          <a:effectLst/>
        </p:grpSpPr>
        <p:sp>
          <p:nvSpPr>
            <p:cNvPr id="13" name="Freeform 71"/>
            <p:cNvSpPr/>
            <p:nvPr/>
          </p:nvSpPr>
          <p:spPr>
            <a:xfrm>
              <a:off x="7554634" y="2040176"/>
              <a:ext cx="273540" cy="230688"/>
            </a:xfrm>
            <a:custGeom>
              <a:avLst/>
              <a:gdLst>
                <a:gd name="connsiteX0" fmla="*/ 7143 w 1271587"/>
                <a:gd name="connsiteY0" fmla="*/ 604837 h 1064418"/>
                <a:gd name="connsiteX1" fmla="*/ 426243 w 1271587"/>
                <a:gd name="connsiteY1" fmla="*/ 1064418 h 1064418"/>
                <a:gd name="connsiteX2" fmla="*/ 528637 w 1271587"/>
                <a:gd name="connsiteY2" fmla="*/ 1054893 h 1064418"/>
                <a:gd name="connsiteX3" fmla="*/ 1254918 w 1271587"/>
                <a:gd name="connsiteY3" fmla="*/ 273843 h 1064418"/>
                <a:gd name="connsiteX4" fmla="*/ 1271587 w 1271587"/>
                <a:gd name="connsiteY4" fmla="*/ 178593 h 1064418"/>
                <a:gd name="connsiteX5" fmla="*/ 1131093 w 1271587"/>
                <a:gd name="connsiteY5" fmla="*/ 0 h 1064418"/>
                <a:gd name="connsiteX6" fmla="*/ 1038225 w 1271587"/>
                <a:gd name="connsiteY6" fmla="*/ 2381 h 1064418"/>
                <a:gd name="connsiteX7" fmla="*/ 457200 w 1271587"/>
                <a:gd name="connsiteY7" fmla="*/ 595312 h 1064418"/>
                <a:gd name="connsiteX8" fmla="*/ 238125 w 1271587"/>
                <a:gd name="connsiteY8" fmla="*/ 373856 h 1064418"/>
                <a:gd name="connsiteX9" fmla="*/ 126206 w 1271587"/>
                <a:gd name="connsiteY9" fmla="*/ 371475 h 1064418"/>
                <a:gd name="connsiteX10" fmla="*/ 0 w 1271587"/>
                <a:gd name="connsiteY10" fmla="*/ 531018 h 1064418"/>
                <a:gd name="connsiteX11" fmla="*/ 7143 w 1271587"/>
                <a:gd name="connsiteY11" fmla="*/ 604837 h 1064418"/>
                <a:gd name="connsiteX0" fmla="*/ 7143 w 1271587"/>
                <a:gd name="connsiteY0" fmla="*/ 604837 h 1067977"/>
                <a:gd name="connsiteX1" fmla="*/ 426243 w 1271587"/>
                <a:gd name="connsiteY1" fmla="*/ 1064418 h 1067977"/>
                <a:gd name="connsiteX2" fmla="*/ 528637 w 1271587"/>
                <a:gd name="connsiteY2" fmla="*/ 1054893 h 1067977"/>
                <a:gd name="connsiteX3" fmla="*/ 1254918 w 1271587"/>
                <a:gd name="connsiteY3" fmla="*/ 273843 h 1067977"/>
                <a:gd name="connsiteX4" fmla="*/ 1271587 w 1271587"/>
                <a:gd name="connsiteY4" fmla="*/ 178593 h 1067977"/>
                <a:gd name="connsiteX5" fmla="*/ 1131093 w 1271587"/>
                <a:gd name="connsiteY5" fmla="*/ 0 h 1067977"/>
                <a:gd name="connsiteX6" fmla="*/ 1038225 w 1271587"/>
                <a:gd name="connsiteY6" fmla="*/ 2381 h 1067977"/>
                <a:gd name="connsiteX7" fmla="*/ 457200 w 1271587"/>
                <a:gd name="connsiteY7" fmla="*/ 595312 h 1067977"/>
                <a:gd name="connsiteX8" fmla="*/ 238125 w 1271587"/>
                <a:gd name="connsiteY8" fmla="*/ 373856 h 1067977"/>
                <a:gd name="connsiteX9" fmla="*/ 126206 w 1271587"/>
                <a:gd name="connsiteY9" fmla="*/ 371475 h 1067977"/>
                <a:gd name="connsiteX10" fmla="*/ 0 w 1271587"/>
                <a:gd name="connsiteY10" fmla="*/ 531018 h 1067977"/>
                <a:gd name="connsiteX11" fmla="*/ 7143 w 1271587"/>
                <a:gd name="connsiteY11" fmla="*/ 604837 h 1067977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5066"/>
                <a:gd name="connsiteY0" fmla="*/ 604837 h 1077089"/>
                <a:gd name="connsiteX1" fmla="*/ 426243 w 1275066"/>
                <a:gd name="connsiteY1" fmla="*/ 1064418 h 1077089"/>
                <a:gd name="connsiteX2" fmla="*/ 528637 w 1275066"/>
                <a:gd name="connsiteY2" fmla="*/ 1054893 h 1077089"/>
                <a:gd name="connsiteX3" fmla="*/ 1254918 w 1275066"/>
                <a:gd name="connsiteY3" fmla="*/ 273843 h 1077089"/>
                <a:gd name="connsiteX4" fmla="*/ 1271587 w 1275066"/>
                <a:gd name="connsiteY4" fmla="*/ 178593 h 1077089"/>
                <a:gd name="connsiteX5" fmla="*/ 1131093 w 1275066"/>
                <a:gd name="connsiteY5" fmla="*/ 0 h 1077089"/>
                <a:gd name="connsiteX6" fmla="*/ 1038225 w 1275066"/>
                <a:gd name="connsiteY6" fmla="*/ 2381 h 1077089"/>
                <a:gd name="connsiteX7" fmla="*/ 457200 w 1275066"/>
                <a:gd name="connsiteY7" fmla="*/ 595312 h 1077089"/>
                <a:gd name="connsiteX8" fmla="*/ 238125 w 1275066"/>
                <a:gd name="connsiteY8" fmla="*/ 373856 h 1077089"/>
                <a:gd name="connsiteX9" fmla="*/ 126206 w 1275066"/>
                <a:gd name="connsiteY9" fmla="*/ 371475 h 1077089"/>
                <a:gd name="connsiteX10" fmla="*/ 0 w 1275066"/>
                <a:gd name="connsiteY10" fmla="*/ 531018 h 1077089"/>
                <a:gd name="connsiteX11" fmla="*/ 7143 w 1275066"/>
                <a:gd name="connsiteY11" fmla="*/ 604837 h 1077089"/>
                <a:gd name="connsiteX0" fmla="*/ 7143 w 1280284"/>
                <a:gd name="connsiteY0" fmla="*/ 604837 h 1077089"/>
                <a:gd name="connsiteX1" fmla="*/ 426243 w 1280284"/>
                <a:gd name="connsiteY1" fmla="*/ 1064418 h 1077089"/>
                <a:gd name="connsiteX2" fmla="*/ 528637 w 1280284"/>
                <a:gd name="connsiteY2" fmla="*/ 1054893 h 1077089"/>
                <a:gd name="connsiteX3" fmla="*/ 1254918 w 1280284"/>
                <a:gd name="connsiteY3" fmla="*/ 273843 h 1077089"/>
                <a:gd name="connsiteX4" fmla="*/ 1271587 w 1280284"/>
                <a:gd name="connsiteY4" fmla="*/ 178593 h 1077089"/>
                <a:gd name="connsiteX5" fmla="*/ 1131093 w 1280284"/>
                <a:gd name="connsiteY5" fmla="*/ 0 h 1077089"/>
                <a:gd name="connsiteX6" fmla="*/ 1038225 w 1280284"/>
                <a:gd name="connsiteY6" fmla="*/ 2381 h 1077089"/>
                <a:gd name="connsiteX7" fmla="*/ 457200 w 1280284"/>
                <a:gd name="connsiteY7" fmla="*/ 595312 h 1077089"/>
                <a:gd name="connsiteX8" fmla="*/ 238125 w 1280284"/>
                <a:gd name="connsiteY8" fmla="*/ 373856 h 1077089"/>
                <a:gd name="connsiteX9" fmla="*/ 126206 w 1280284"/>
                <a:gd name="connsiteY9" fmla="*/ 371475 h 1077089"/>
                <a:gd name="connsiteX10" fmla="*/ 0 w 1280284"/>
                <a:gd name="connsiteY10" fmla="*/ 531018 h 1077089"/>
                <a:gd name="connsiteX11" fmla="*/ 7143 w 1280284"/>
                <a:gd name="connsiteY11" fmla="*/ 604837 h 1077089"/>
                <a:gd name="connsiteX0" fmla="*/ 7143 w 1282209"/>
                <a:gd name="connsiteY0" fmla="*/ 604837 h 1077089"/>
                <a:gd name="connsiteX1" fmla="*/ 426243 w 1282209"/>
                <a:gd name="connsiteY1" fmla="*/ 1064418 h 1077089"/>
                <a:gd name="connsiteX2" fmla="*/ 528637 w 1282209"/>
                <a:gd name="connsiteY2" fmla="*/ 1054893 h 1077089"/>
                <a:gd name="connsiteX3" fmla="*/ 1254918 w 1282209"/>
                <a:gd name="connsiteY3" fmla="*/ 273843 h 1077089"/>
                <a:gd name="connsiteX4" fmla="*/ 1271587 w 1282209"/>
                <a:gd name="connsiteY4" fmla="*/ 178593 h 1077089"/>
                <a:gd name="connsiteX5" fmla="*/ 1131093 w 1282209"/>
                <a:gd name="connsiteY5" fmla="*/ 0 h 1077089"/>
                <a:gd name="connsiteX6" fmla="*/ 1038225 w 1282209"/>
                <a:gd name="connsiteY6" fmla="*/ 2381 h 1077089"/>
                <a:gd name="connsiteX7" fmla="*/ 457200 w 1282209"/>
                <a:gd name="connsiteY7" fmla="*/ 595312 h 1077089"/>
                <a:gd name="connsiteX8" fmla="*/ 238125 w 1282209"/>
                <a:gd name="connsiteY8" fmla="*/ 373856 h 1077089"/>
                <a:gd name="connsiteX9" fmla="*/ 126206 w 1282209"/>
                <a:gd name="connsiteY9" fmla="*/ 371475 h 1077089"/>
                <a:gd name="connsiteX10" fmla="*/ 0 w 1282209"/>
                <a:gd name="connsiteY10" fmla="*/ 531018 h 1077089"/>
                <a:gd name="connsiteX11" fmla="*/ 7143 w 1282209"/>
                <a:gd name="connsiteY11" fmla="*/ 604837 h 1077089"/>
                <a:gd name="connsiteX0" fmla="*/ 7143 w 1282209"/>
                <a:gd name="connsiteY0" fmla="*/ 602456 h 1074708"/>
                <a:gd name="connsiteX1" fmla="*/ 426243 w 1282209"/>
                <a:gd name="connsiteY1" fmla="*/ 1062037 h 1074708"/>
                <a:gd name="connsiteX2" fmla="*/ 528637 w 1282209"/>
                <a:gd name="connsiteY2" fmla="*/ 1052512 h 1074708"/>
                <a:gd name="connsiteX3" fmla="*/ 1254918 w 1282209"/>
                <a:gd name="connsiteY3" fmla="*/ 271462 h 1074708"/>
                <a:gd name="connsiteX4" fmla="*/ 1271587 w 1282209"/>
                <a:gd name="connsiteY4" fmla="*/ 176212 h 1074708"/>
                <a:gd name="connsiteX5" fmla="*/ 1145381 w 1282209"/>
                <a:gd name="connsiteY5" fmla="*/ 4763 h 1074708"/>
                <a:gd name="connsiteX6" fmla="*/ 1038225 w 1282209"/>
                <a:gd name="connsiteY6" fmla="*/ 0 h 1074708"/>
                <a:gd name="connsiteX7" fmla="*/ 457200 w 1282209"/>
                <a:gd name="connsiteY7" fmla="*/ 592931 h 1074708"/>
                <a:gd name="connsiteX8" fmla="*/ 238125 w 1282209"/>
                <a:gd name="connsiteY8" fmla="*/ 371475 h 1074708"/>
                <a:gd name="connsiteX9" fmla="*/ 126206 w 1282209"/>
                <a:gd name="connsiteY9" fmla="*/ 369094 h 1074708"/>
                <a:gd name="connsiteX10" fmla="*/ 0 w 1282209"/>
                <a:gd name="connsiteY10" fmla="*/ 528637 h 1074708"/>
                <a:gd name="connsiteX11" fmla="*/ 7143 w 1282209"/>
                <a:gd name="connsiteY11" fmla="*/ 602456 h 1074708"/>
                <a:gd name="connsiteX0" fmla="*/ 7143 w 1282209"/>
                <a:gd name="connsiteY0" fmla="*/ 613102 h 1085354"/>
                <a:gd name="connsiteX1" fmla="*/ 426243 w 1282209"/>
                <a:gd name="connsiteY1" fmla="*/ 1072683 h 1085354"/>
                <a:gd name="connsiteX2" fmla="*/ 528637 w 1282209"/>
                <a:gd name="connsiteY2" fmla="*/ 1063158 h 1085354"/>
                <a:gd name="connsiteX3" fmla="*/ 1254918 w 1282209"/>
                <a:gd name="connsiteY3" fmla="*/ 282108 h 1085354"/>
                <a:gd name="connsiteX4" fmla="*/ 1271587 w 1282209"/>
                <a:gd name="connsiteY4" fmla="*/ 186858 h 1085354"/>
                <a:gd name="connsiteX5" fmla="*/ 1145381 w 1282209"/>
                <a:gd name="connsiteY5" fmla="*/ 15409 h 1085354"/>
                <a:gd name="connsiteX6" fmla="*/ 1038225 w 1282209"/>
                <a:gd name="connsiteY6" fmla="*/ 10646 h 1085354"/>
                <a:gd name="connsiteX7" fmla="*/ 457200 w 1282209"/>
                <a:gd name="connsiteY7" fmla="*/ 603577 h 1085354"/>
                <a:gd name="connsiteX8" fmla="*/ 238125 w 1282209"/>
                <a:gd name="connsiteY8" fmla="*/ 382121 h 1085354"/>
                <a:gd name="connsiteX9" fmla="*/ 126206 w 1282209"/>
                <a:gd name="connsiteY9" fmla="*/ 379740 h 1085354"/>
                <a:gd name="connsiteX10" fmla="*/ 0 w 1282209"/>
                <a:gd name="connsiteY10" fmla="*/ 539283 h 1085354"/>
                <a:gd name="connsiteX11" fmla="*/ 7143 w 1282209"/>
                <a:gd name="connsiteY11" fmla="*/ 613102 h 1085354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0 w 1275066"/>
                <a:gd name="connsiteY0" fmla="*/ 618884 h 1091136"/>
                <a:gd name="connsiteX1" fmla="*/ 419100 w 1275066"/>
                <a:gd name="connsiteY1" fmla="*/ 1078465 h 1091136"/>
                <a:gd name="connsiteX2" fmla="*/ 521494 w 1275066"/>
                <a:gd name="connsiteY2" fmla="*/ 1068940 h 1091136"/>
                <a:gd name="connsiteX3" fmla="*/ 1247775 w 1275066"/>
                <a:gd name="connsiteY3" fmla="*/ 287890 h 1091136"/>
                <a:gd name="connsiteX4" fmla="*/ 1264444 w 1275066"/>
                <a:gd name="connsiteY4" fmla="*/ 192640 h 1091136"/>
                <a:gd name="connsiteX5" fmla="*/ 1138238 w 1275066"/>
                <a:gd name="connsiteY5" fmla="*/ 21191 h 1091136"/>
                <a:gd name="connsiteX6" fmla="*/ 1031082 w 1275066"/>
                <a:gd name="connsiteY6" fmla="*/ 16428 h 1091136"/>
                <a:gd name="connsiteX7" fmla="*/ 450057 w 1275066"/>
                <a:gd name="connsiteY7" fmla="*/ 609359 h 1091136"/>
                <a:gd name="connsiteX8" fmla="*/ 230982 w 1275066"/>
                <a:gd name="connsiteY8" fmla="*/ 387903 h 1091136"/>
                <a:gd name="connsiteX9" fmla="*/ 119063 w 1275066"/>
                <a:gd name="connsiteY9" fmla="*/ 385522 h 1091136"/>
                <a:gd name="connsiteX10" fmla="*/ 0 w 1275066"/>
                <a:gd name="connsiteY10" fmla="*/ 523633 h 1091136"/>
                <a:gd name="connsiteX11" fmla="*/ 0 w 1275066"/>
                <a:gd name="connsiteY11" fmla="*/ 618884 h 1091136"/>
                <a:gd name="connsiteX0" fmla="*/ 0 w 1275066"/>
                <a:gd name="connsiteY0" fmla="*/ 618884 h 1091136"/>
                <a:gd name="connsiteX1" fmla="*/ 419100 w 1275066"/>
                <a:gd name="connsiteY1" fmla="*/ 1078465 h 1091136"/>
                <a:gd name="connsiteX2" fmla="*/ 521494 w 1275066"/>
                <a:gd name="connsiteY2" fmla="*/ 1068940 h 1091136"/>
                <a:gd name="connsiteX3" fmla="*/ 1247775 w 1275066"/>
                <a:gd name="connsiteY3" fmla="*/ 287890 h 1091136"/>
                <a:gd name="connsiteX4" fmla="*/ 1264444 w 1275066"/>
                <a:gd name="connsiteY4" fmla="*/ 192640 h 1091136"/>
                <a:gd name="connsiteX5" fmla="*/ 1138238 w 1275066"/>
                <a:gd name="connsiteY5" fmla="*/ 21191 h 1091136"/>
                <a:gd name="connsiteX6" fmla="*/ 1031082 w 1275066"/>
                <a:gd name="connsiteY6" fmla="*/ 16428 h 1091136"/>
                <a:gd name="connsiteX7" fmla="*/ 450057 w 1275066"/>
                <a:gd name="connsiteY7" fmla="*/ 609359 h 1091136"/>
                <a:gd name="connsiteX8" fmla="*/ 230982 w 1275066"/>
                <a:gd name="connsiteY8" fmla="*/ 387903 h 1091136"/>
                <a:gd name="connsiteX9" fmla="*/ 119063 w 1275066"/>
                <a:gd name="connsiteY9" fmla="*/ 385522 h 1091136"/>
                <a:gd name="connsiteX10" fmla="*/ 0 w 1275066"/>
                <a:gd name="connsiteY10" fmla="*/ 523633 h 1091136"/>
                <a:gd name="connsiteX11" fmla="*/ 0 w 1275066"/>
                <a:gd name="connsiteY11" fmla="*/ 618884 h 1091136"/>
                <a:gd name="connsiteX0" fmla="*/ 11641 w 1286707"/>
                <a:gd name="connsiteY0" fmla="*/ 618884 h 1091136"/>
                <a:gd name="connsiteX1" fmla="*/ 430741 w 1286707"/>
                <a:gd name="connsiteY1" fmla="*/ 1078465 h 1091136"/>
                <a:gd name="connsiteX2" fmla="*/ 533135 w 1286707"/>
                <a:gd name="connsiteY2" fmla="*/ 1068940 h 1091136"/>
                <a:gd name="connsiteX3" fmla="*/ 1259416 w 1286707"/>
                <a:gd name="connsiteY3" fmla="*/ 287890 h 1091136"/>
                <a:gd name="connsiteX4" fmla="*/ 1276085 w 1286707"/>
                <a:gd name="connsiteY4" fmla="*/ 192640 h 1091136"/>
                <a:gd name="connsiteX5" fmla="*/ 1149879 w 1286707"/>
                <a:gd name="connsiteY5" fmla="*/ 21191 h 1091136"/>
                <a:gd name="connsiteX6" fmla="*/ 1042723 w 1286707"/>
                <a:gd name="connsiteY6" fmla="*/ 16428 h 1091136"/>
                <a:gd name="connsiteX7" fmla="*/ 461698 w 1286707"/>
                <a:gd name="connsiteY7" fmla="*/ 609359 h 1091136"/>
                <a:gd name="connsiteX8" fmla="*/ 242623 w 1286707"/>
                <a:gd name="connsiteY8" fmla="*/ 387903 h 1091136"/>
                <a:gd name="connsiteX9" fmla="*/ 130704 w 1286707"/>
                <a:gd name="connsiteY9" fmla="*/ 385522 h 1091136"/>
                <a:gd name="connsiteX10" fmla="*/ 11641 w 1286707"/>
                <a:gd name="connsiteY10" fmla="*/ 523633 h 1091136"/>
                <a:gd name="connsiteX11" fmla="*/ 11641 w 1286707"/>
                <a:gd name="connsiteY11" fmla="*/ 618884 h 1091136"/>
                <a:gd name="connsiteX0" fmla="*/ 19645 w 1294711"/>
                <a:gd name="connsiteY0" fmla="*/ 618884 h 1091136"/>
                <a:gd name="connsiteX1" fmla="*/ 438745 w 1294711"/>
                <a:gd name="connsiteY1" fmla="*/ 1078465 h 1091136"/>
                <a:gd name="connsiteX2" fmla="*/ 541139 w 1294711"/>
                <a:gd name="connsiteY2" fmla="*/ 1068940 h 1091136"/>
                <a:gd name="connsiteX3" fmla="*/ 1267420 w 1294711"/>
                <a:gd name="connsiteY3" fmla="*/ 287890 h 1091136"/>
                <a:gd name="connsiteX4" fmla="*/ 1284089 w 1294711"/>
                <a:gd name="connsiteY4" fmla="*/ 192640 h 1091136"/>
                <a:gd name="connsiteX5" fmla="*/ 1157883 w 1294711"/>
                <a:gd name="connsiteY5" fmla="*/ 21191 h 1091136"/>
                <a:gd name="connsiteX6" fmla="*/ 1050727 w 1294711"/>
                <a:gd name="connsiteY6" fmla="*/ 16428 h 1091136"/>
                <a:gd name="connsiteX7" fmla="*/ 469702 w 1294711"/>
                <a:gd name="connsiteY7" fmla="*/ 609359 h 1091136"/>
                <a:gd name="connsiteX8" fmla="*/ 250627 w 1294711"/>
                <a:gd name="connsiteY8" fmla="*/ 387903 h 1091136"/>
                <a:gd name="connsiteX9" fmla="*/ 138708 w 1294711"/>
                <a:gd name="connsiteY9" fmla="*/ 385522 h 1091136"/>
                <a:gd name="connsiteX10" fmla="*/ 19645 w 1294711"/>
                <a:gd name="connsiteY10" fmla="*/ 523633 h 1091136"/>
                <a:gd name="connsiteX11" fmla="*/ 19645 w 1294711"/>
                <a:gd name="connsiteY11" fmla="*/ 618884 h 1091136"/>
                <a:gd name="connsiteX0" fmla="*/ 18763 w 1293829"/>
                <a:gd name="connsiteY0" fmla="*/ 618884 h 1091136"/>
                <a:gd name="connsiteX1" fmla="*/ 437863 w 1293829"/>
                <a:gd name="connsiteY1" fmla="*/ 1078465 h 1091136"/>
                <a:gd name="connsiteX2" fmla="*/ 540257 w 1293829"/>
                <a:gd name="connsiteY2" fmla="*/ 1068940 h 1091136"/>
                <a:gd name="connsiteX3" fmla="*/ 1266538 w 1293829"/>
                <a:gd name="connsiteY3" fmla="*/ 287890 h 1091136"/>
                <a:gd name="connsiteX4" fmla="*/ 1283207 w 1293829"/>
                <a:gd name="connsiteY4" fmla="*/ 192640 h 1091136"/>
                <a:gd name="connsiteX5" fmla="*/ 1157001 w 1293829"/>
                <a:gd name="connsiteY5" fmla="*/ 21191 h 1091136"/>
                <a:gd name="connsiteX6" fmla="*/ 1049845 w 1293829"/>
                <a:gd name="connsiteY6" fmla="*/ 16428 h 1091136"/>
                <a:gd name="connsiteX7" fmla="*/ 468820 w 1293829"/>
                <a:gd name="connsiteY7" fmla="*/ 609359 h 1091136"/>
                <a:gd name="connsiteX8" fmla="*/ 249745 w 1293829"/>
                <a:gd name="connsiteY8" fmla="*/ 387903 h 1091136"/>
                <a:gd name="connsiteX9" fmla="*/ 137826 w 1293829"/>
                <a:gd name="connsiteY9" fmla="*/ 385522 h 1091136"/>
                <a:gd name="connsiteX10" fmla="*/ 18763 w 1293829"/>
                <a:gd name="connsiteY10" fmla="*/ 523633 h 1091136"/>
                <a:gd name="connsiteX11" fmla="*/ 18763 w 1293829"/>
                <a:gd name="connsiteY11" fmla="*/ 618884 h 109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3829" h="1091136">
                  <a:moveTo>
                    <a:pt x="18763" y="618884"/>
                  </a:moveTo>
                  <a:lnTo>
                    <a:pt x="437863" y="1078465"/>
                  </a:lnTo>
                  <a:cubicBezTo>
                    <a:pt x="474375" y="1099102"/>
                    <a:pt x="498981" y="1093547"/>
                    <a:pt x="540257" y="1068940"/>
                  </a:cubicBezTo>
                  <a:cubicBezTo>
                    <a:pt x="782351" y="718103"/>
                    <a:pt x="1067307" y="429177"/>
                    <a:pt x="1266538" y="287890"/>
                  </a:cubicBezTo>
                  <a:cubicBezTo>
                    <a:pt x="1303050" y="251378"/>
                    <a:pt x="1296701" y="222009"/>
                    <a:pt x="1283207" y="192640"/>
                  </a:cubicBezTo>
                  <a:lnTo>
                    <a:pt x="1157001" y="21191"/>
                  </a:lnTo>
                  <a:cubicBezTo>
                    <a:pt x="1126045" y="-11354"/>
                    <a:pt x="1095089" y="-1034"/>
                    <a:pt x="1049845" y="16428"/>
                  </a:cubicBezTo>
                  <a:cubicBezTo>
                    <a:pt x="822833" y="161684"/>
                    <a:pt x="626776" y="366471"/>
                    <a:pt x="468820" y="609359"/>
                  </a:cubicBezTo>
                  <a:lnTo>
                    <a:pt x="249745" y="387903"/>
                  </a:lnTo>
                  <a:cubicBezTo>
                    <a:pt x="210058" y="356153"/>
                    <a:pt x="179894" y="360122"/>
                    <a:pt x="137826" y="385522"/>
                  </a:cubicBezTo>
                  <a:cubicBezTo>
                    <a:pt x="98138" y="431559"/>
                    <a:pt x="58451" y="458546"/>
                    <a:pt x="18763" y="523633"/>
                  </a:cubicBezTo>
                  <a:cubicBezTo>
                    <a:pt x="-5049" y="555383"/>
                    <a:pt x="-7430" y="594278"/>
                    <a:pt x="18763" y="6188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Circle: Hollow 14"/>
            <p:cNvSpPr/>
            <p:nvPr/>
          </p:nvSpPr>
          <p:spPr>
            <a:xfrm>
              <a:off x="7468013" y="1931193"/>
              <a:ext cx="446783" cy="446783"/>
            </a:xfrm>
            <a:prstGeom prst="donut">
              <a:avLst>
                <a:gd name="adj" fmla="val 7797"/>
              </a:avLst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1560956" y="1729296"/>
            <a:ext cx="446783" cy="446783"/>
            <a:chOff x="11261467" y="1931193"/>
            <a:chExt cx="446783" cy="446783"/>
          </a:xfrm>
          <a:effectLst/>
        </p:grpSpPr>
        <p:sp>
          <p:nvSpPr>
            <p:cNvPr id="14" name="Freeform 127"/>
            <p:cNvSpPr/>
            <p:nvPr/>
          </p:nvSpPr>
          <p:spPr bwMode="auto">
            <a:xfrm>
              <a:off x="11404963" y="2007866"/>
              <a:ext cx="159790" cy="293437"/>
            </a:xfrm>
            <a:custGeom>
              <a:avLst/>
              <a:gdLst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41426"/>
                <a:gd name="connsiteY0" fmla="*/ 0 h 4914900"/>
                <a:gd name="connsiteX1" fmla="*/ 1676400 w 2641426"/>
                <a:gd name="connsiteY1" fmla="*/ 0 h 4914900"/>
                <a:gd name="connsiteX2" fmla="*/ 1676400 w 2641426"/>
                <a:gd name="connsiteY2" fmla="*/ 523875 h 4914900"/>
                <a:gd name="connsiteX3" fmla="*/ 2466975 w 2641426"/>
                <a:gd name="connsiteY3" fmla="*/ 647700 h 4914900"/>
                <a:gd name="connsiteX4" fmla="*/ 2466975 w 2641426"/>
                <a:gd name="connsiteY4" fmla="*/ 1628775 h 4914900"/>
                <a:gd name="connsiteX5" fmla="*/ 1276350 w 2641426"/>
                <a:gd name="connsiteY5" fmla="*/ 1400175 h 4914900"/>
                <a:gd name="connsiteX6" fmla="*/ 1238250 w 2641426"/>
                <a:gd name="connsiteY6" fmla="*/ 1800225 h 4914900"/>
                <a:gd name="connsiteX7" fmla="*/ 2638425 w 2641426"/>
                <a:gd name="connsiteY7" fmla="*/ 3276600 h 4914900"/>
                <a:gd name="connsiteX8" fmla="*/ 1685925 w 2641426"/>
                <a:gd name="connsiteY8" fmla="*/ 4305300 h 4914900"/>
                <a:gd name="connsiteX9" fmla="*/ 1685925 w 2641426"/>
                <a:gd name="connsiteY9" fmla="*/ 4914900 h 4914900"/>
                <a:gd name="connsiteX10" fmla="*/ 1038225 w 2641426"/>
                <a:gd name="connsiteY10" fmla="*/ 4914900 h 4914900"/>
                <a:gd name="connsiteX11" fmla="*/ 1038225 w 2641426"/>
                <a:gd name="connsiteY11" fmla="*/ 4381500 h 4914900"/>
                <a:gd name="connsiteX12" fmla="*/ 19050 w 2641426"/>
                <a:gd name="connsiteY12" fmla="*/ 4152900 h 4914900"/>
                <a:gd name="connsiteX13" fmla="*/ 19050 w 2641426"/>
                <a:gd name="connsiteY13" fmla="*/ 3133725 h 4914900"/>
                <a:gd name="connsiteX14" fmla="*/ 1181100 w 2641426"/>
                <a:gd name="connsiteY14" fmla="*/ 3533775 h 4914900"/>
                <a:gd name="connsiteX15" fmla="*/ 1333500 w 2641426"/>
                <a:gd name="connsiteY15" fmla="*/ 3086100 h 4914900"/>
                <a:gd name="connsiteX16" fmla="*/ 0 w 2641426"/>
                <a:gd name="connsiteY16" fmla="*/ 1447800 h 4914900"/>
                <a:gd name="connsiteX17" fmla="*/ 1038225 w 2641426"/>
                <a:gd name="connsiteY17" fmla="*/ 561975 h 4914900"/>
                <a:gd name="connsiteX18" fmla="*/ 1028700 w 2641426"/>
                <a:gd name="connsiteY18" fmla="*/ 0 h 4914900"/>
                <a:gd name="connsiteX0" fmla="*/ 1028700 w 2640867"/>
                <a:gd name="connsiteY0" fmla="*/ 0 h 4914900"/>
                <a:gd name="connsiteX1" fmla="*/ 1676400 w 2640867"/>
                <a:gd name="connsiteY1" fmla="*/ 0 h 4914900"/>
                <a:gd name="connsiteX2" fmla="*/ 1676400 w 2640867"/>
                <a:gd name="connsiteY2" fmla="*/ 523875 h 4914900"/>
                <a:gd name="connsiteX3" fmla="*/ 2466975 w 2640867"/>
                <a:gd name="connsiteY3" fmla="*/ 647700 h 4914900"/>
                <a:gd name="connsiteX4" fmla="*/ 2466975 w 2640867"/>
                <a:gd name="connsiteY4" fmla="*/ 1628775 h 4914900"/>
                <a:gd name="connsiteX5" fmla="*/ 1276350 w 2640867"/>
                <a:gd name="connsiteY5" fmla="*/ 1400175 h 4914900"/>
                <a:gd name="connsiteX6" fmla="*/ 1238250 w 2640867"/>
                <a:gd name="connsiteY6" fmla="*/ 1800225 h 4914900"/>
                <a:gd name="connsiteX7" fmla="*/ 2638425 w 2640867"/>
                <a:gd name="connsiteY7" fmla="*/ 3276600 h 4914900"/>
                <a:gd name="connsiteX8" fmla="*/ 1685925 w 2640867"/>
                <a:gd name="connsiteY8" fmla="*/ 4305300 h 4914900"/>
                <a:gd name="connsiteX9" fmla="*/ 1685925 w 2640867"/>
                <a:gd name="connsiteY9" fmla="*/ 4914900 h 4914900"/>
                <a:gd name="connsiteX10" fmla="*/ 1038225 w 2640867"/>
                <a:gd name="connsiteY10" fmla="*/ 4914900 h 4914900"/>
                <a:gd name="connsiteX11" fmla="*/ 1038225 w 2640867"/>
                <a:gd name="connsiteY11" fmla="*/ 4381500 h 4914900"/>
                <a:gd name="connsiteX12" fmla="*/ 19050 w 2640867"/>
                <a:gd name="connsiteY12" fmla="*/ 4152900 h 4914900"/>
                <a:gd name="connsiteX13" fmla="*/ 19050 w 2640867"/>
                <a:gd name="connsiteY13" fmla="*/ 3133725 h 4914900"/>
                <a:gd name="connsiteX14" fmla="*/ 1181100 w 2640867"/>
                <a:gd name="connsiteY14" fmla="*/ 3533775 h 4914900"/>
                <a:gd name="connsiteX15" fmla="*/ 1333500 w 2640867"/>
                <a:gd name="connsiteY15" fmla="*/ 3086100 h 4914900"/>
                <a:gd name="connsiteX16" fmla="*/ 0 w 2640867"/>
                <a:gd name="connsiteY16" fmla="*/ 1447800 h 4914900"/>
                <a:gd name="connsiteX17" fmla="*/ 1038225 w 2640867"/>
                <a:gd name="connsiteY17" fmla="*/ 561975 h 4914900"/>
                <a:gd name="connsiteX18" fmla="*/ 1028700 w 2640867"/>
                <a:gd name="connsiteY18" fmla="*/ 0 h 4914900"/>
                <a:gd name="connsiteX0" fmla="*/ 1028700 w 2646293"/>
                <a:gd name="connsiteY0" fmla="*/ 0 h 4914900"/>
                <a:gd name="connsiteX1" fmla="*/ 1676400 w 2646293"/>
                <a:gd name="connsiteY1" fmla="*/ 0 h 4914900"/>
                <a:gd name="connsiteX2" fmla="*/ 1676400 w 2646293"/>
                <a:gd name="connsiteY2" fmla="*/ 523875 h 4914900"/>
                <a:gd name="connsiteX3" fmla="*/ 2466975 w 2646293"/>
                <a:gd name="connsiteY3" fmla="*/ 647700 h 4914900"/>
                <a:gd name="connsiteX4" fmla="*/ 2466975 w 2646293"/>
                <a:gd name="connsiteY4" fmla="*/ 1628775 h 4914900"/>
                <a:gd name="connsiteX5" fmla="*/ 1276350 w 2646293"/>
                <a:gd name="connsiteY5" fmla="*/ 1400175 h 4914900"/>
                <a:gd name="connsiteX6" fmla="*/ 1238250 w 2646293"/>
                <a:gd name="connsiteY6" fmla="*/ 1800225 h 4914900"/>
                <a:gd name="connsiteX7" fmla="*/ 2638425 w 2646293"/>
                <a:gd name="connsiteY7" fmla="*/ 3276600 h 4914900"/>
                <a:gd name="connsiteX8" fmla="*/ 1685925 w 2646293"/>
                <a:gd name="connsiteY8" fmla="*/ 4305300 h 4914900"/>
                <a:gd name="connsiteX9" fmla="*/ 1685925 w 2646293"/>
                <a:gd name="connsiteY9" fmla="*/ 4914900 h 4914900"/>
                <a:gd name="connsiteX10" fmla="*/ 1038225 w 2646293"/>
                <a:gd name="connsiteY10" fmla="*/ 4914900 h 4914900"/>
                <a:gd name="connsiteX11" fmla="*/ 1038225 w 2646293"/>
                <a:gd name="connsiteY11" fmla="*/ 4381500 h 4914900"/>
                <a:gd name="connsiteX12" fmla="*/ 19050 w 2646293"/>
                <a:gd name="connsiteY12" fmla="*/ 4152900 h 4914900"/>
                <a:gd name="connsiteX13" fmla="*/ 19050 w 2646293"/>
                <a:gd name="connsiteY13" fmla="*/ 3133725 h 4914900"/>
                <a:gd name="connsiteX14" fmla="*/ 1181100 w 2646293"/>
                <a:gd name="connsiteY14" fmla="*/ 3533775 h 4914900"/>
                <a:gd name="connsiteX15" fmla="*/ 1333500 w 2646293"/>
                <a:gd name="connsiteY15" fmla="*/ 3086100 h 4914900"/>
                <a:gd name="connsiteX16" fmla="*/ 0 w 2646293"/>
                <a:gd name="connsiteY16" fmla="*/ 1447800 h 4914900"/>
                <a:gd name="connsiteX17" fmla="*/ 1038225 w 2646293"/>
                <a:gd name="connsiteY17" fmla="*/ 561975 h 4914900"/>
                <a:gd name="connsiteX18" fmla="*/ 1028700 w 2646293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64796 w 2682440"/>
                <a:gd name="connsiteY0" fmla="*/ 0 h 4914900"/>
                <a:gd name="connsiteX1" fmla="*/ 1712496 w 2682440"/>
                <a:gd name="connsiteY1" fmla="*/ 0 h 4914900"/>
                <a:gd name="connsiteX2" fmla="*/ 1712496 w 2682440"/>
                <a:gd name="connsiteY2" fmla="*/ 523875 h 4914900"/>
                <a:gd name="connsiteX3" fmla="*/ 2503071 w 2682440"/>
                <a:gd name="connsiteY3" fmla="*/ 647700 h 4914900"/>
                <a:gd name="connsiteX4" fmla="*/ 2503071 w 2682440"/>
                <a:gd name="connsiteY4" fmla="*/ 1628775 h 4914900"/>
                <a:gd name="connsiteX5" fmla="*/ 1312446 w 2682440"/>
                <a:gd name="connsiteY5" fmla="*/ 1400175 h 4914900"/>
                <a:gd name="connsiteX6" fmla="*/ 1274346 w 2682440"/>
                <a:gd name="connsiteY6" fmla="*/ 1800225 h 4914900"/>
                <a:gd name="connsiteX7" fmla="*/ 2674521 w 2682440"/>
                <a:gd name="connsiteY7" fmla="*/ 3276600 h 4914900"/>
                <a:gd name="connsiteX8" fmla="*/ 1722021 w 2682440"/>
                <a:gd name="connsiteY8" fmla="*/ 4305300 h 4914900"/>
                <a:gd name="connsiteX9" fmla="*/ 1722021 w 2682440"/>
                <a:gd name="connsiteY9" fmla="*/ 4914900 h 4914900"/>
                <a:gd name="connsiteX10" fmla="*/ 1074321 w 2682440"/>
                <a:gd name="connsiteY10" fmla="*/ 4914900 h 4914900"/>
                <a:gd name="connsiteX11" fmla="*/ 1074321 w 2682440"/>
                <a:gd name="connsiteY11" fmla="*/ 4381500 h 4914900"/>
                <a:gd name="connsiteX12" fmla="*/ 55146 w 2682440"/>
                <a:gd name="connsiteY12" fmla="*/ 4152900 h 4914900"/>
                <a:gd name="connsiteX13" fmla="*/ 55146 w 2682440"/>
                <a:gd name="connsiteY13" fmla="*/ 3133725 h 4914900"/>
                <a:gd name="connsiteX14" fmla="*/ 1217196 w 2682440"/>
                <a:gd name="connsiteY14" fmla="*/ 3533775 h 4914900"/>
                <a:gd name="connsiteX15" fmla="*/ 1369596 w 2682440"/>
                <a:gd name="connsiteY15" fmla="*/ 3086100 h 4914900"/>
                <a:gd name="connsiteX16" fmla="*/ 36096 w 2682440"/>
                <a:gd name="connsiteY16" fmla="*/ 1447800 h 4914900"/>
                <a:gd name="connsiteX17" fmla="*/ 1074321 w 2682440"/>
                <a:gd name="connsiteY17" fmla="*/ 561975 h 4914900"/>
                <a:gd name="connsiteX18" fmla="*/ 1064796 w 2682440"/>
                <a:gd name="connsiteY18" fmla="*/ 0 h 4914900"/>
                <a:gd name="connsiteX0" fmla="*/ 1065400 w 2683044"/>
                <a:gd name="connsiteY0" fmla="*/ 0 h 4914900"/>
                <a:gd name="connsiteX1" fmla="*/ 1713100 w 2683044"/>
                <a:gd name="connsiteY1" fmla="*/ 0 h 4914900"/>
                <a:gd name="connsiteX2" fmla="*/ 1713100 w 2683044"/>
                <a:gd name="connsiteY2" fmla="*/ 523875 h 4914900"/>
                <a:gd name="connsiteX3" fmla="*/ 2503675 w 2683044"/>
                <a:gd name="connsiteY3" fmla="*/ 647700 h 4914900"/>
                <a:gd name="connsiteX4" fmla="*/ 2503675 w 2683044"/>
                <a:gd name="connsiteY4" fmla="*/ 1628775 h 4914900"/>
                <a:gd name="connsiteX5" fmla="*/ 1313050 w 2683044"/>
                <a:gd name="connsiteY5" fmla="*/ 1400175 h 4914900"/>
                <a:gd name="connsiteX6" fmla="*/ 1274950 w 2683044"/>
                <a:gd name="connsiteY6" fmla="*/ 1800225 h 4914900"/>
                <a:gd name="connsiteX7" fmla="*/ 2675125 w 2683044"/>
                <a:gd name="connsiteY7" fmla="*/ 3276600 h 4914900"/>
                <a:gd name="connsiteX8" fmla="*/ 1722625 w 2683044"/>
                <a:gd name="connsiteY8" fmla="*/ 4305300 h 4914900"/>
                <a:gd name="connsiteX9" fmla="*/ 1722625 w 2683044"/>
                <a:gd name="connsiteY9" fmla="*/ 4914900 h 4914900"/>
                <a:gd name="connsiteX10" fmla="*/ 1074925 w 2683044"/>
                <a:gd name="connsiteY10" fmla="*/ 4914900 h 4914900"/>
                <a:gd name="connsiteX11" fmla="*/ 1074925 w 2683044"/>
                <a:gd name="connsiteY11" fmla="*/ 4381500 h 4914900"/>
                <a:gd name="connsiteX12" fmla="*/ 55750 w 2683044"/>
                <a:gd name="connsiteY12" fmla="*/ 4152900 h 4914900"/>
                <a:gd name="connsiteX13" fmla="*/ 55750 w 2683044"/>
                <a:gd name="connsiteY13" fmla="*/ 3133725 h 4914900"/>
                <a:gd name="connsiteX14" fmla="*/ 1217800 w 2683044"/>
                <a:gd name="connsiteY14" fmla="*/ 3533775 h 4914900"/>
                <a:gd name="connsiteX15" fmla="*/ 1370200 w 2683044"/>
                <a:gd name="connsiteY15" fmla="*/ 3086100 h 4914900"/>
                <a:gd name="connsiteX16" fmla="*/ 36700 w 2683044"/>
                <a:gd name="connsiteY16" fmla="*/ 1447800 h 4914900"/>
                <a:gd name="connsiteX17" fmla="*/ 1074925 w 2683044"/>
                <a:gd name="connsiteY17" fmla="*/ 561975 h 4914900"/>
                <a:gd name="connsiteX18" fmla="*/ 1065400 w 2683044"/>
                <a:gd name="connsiteY18" fmla="*/ 0 h 4914900"/>
                <a:gd name="connsiteX0" fmla="*/ 1061280 w 2678924"/>
                <a:gd name="connsiteY0" fmla="*/ 0 h 4914900"/>
                <a:gd name="connsiteX1" fmla="*/ 1708980 w 2678924"/>
                <a:gd name="connsiteY1" fmla="*/ 0 h 4914900"/>
                <a:gd name="connsiteX2" fmla="*/ 1708980 w 2678924"/>
                <a:gd name="connsiteY2" fmla="*/ 523875 h 4914900"/>
                <a:gd name="connsiteX3" fmla="*/ 2499555 w 2678924"/>
                <a:gd name="connsiteY3" fmla="*/ 647700 h 4914900"/>
                <a:gd name="connsiteX4" fmla="*/ 2499555 w 2678924"/>
                <a:gd name="connsiteY4" fmla="*/ 1628775 h 4914900"/>
                <a:gd name="connsiteX5" fmla="*/ 1308930 w 2678924"/>
                <a:gd name="connsiteY5" fmla="*/ 1400175 h 4914900"/>
                <a:gd name="connsiteX6" fmla="*/ 1270830 w 2678924"/>
                <a:gd name="connsiteY6" fmla="*/ 1800225 h 4914900"/>
                <a:gd name="connsiteX7" fmla="*/ 2671005 w 2678924"/>
                <a:gd name="connsiteY7" fmla="*/ 3276600 h 4914900"/>
                <a:gd name="connsiteX8" fmla="*/ 1718505 w 2678924"/>
                <a:gd name="connsiteY8" fmla="*/ 4305300 h 4914900"/>
                <a:gd name="connsiteX9" fmla="*/ 1718505 w 2678924"/>
                <a:gd name="connsiteY9" fmla="*/ 4914900 h 4914900"/>
                <a:gd name="connsiteX10" fmla="*/ 1070805 w 2678924"/>
                <a:gd name="connsiteY10" fmla="*/ 4914900 h 4914900"/>
                <a:gd name="connsiteX11" fmla="*/ 1070805 w 2678924"/>
                <a:gd name="connsiteY11" fmla="*/ 4381500 h 4914900"/>
                <a:gd name="connsiteX12" fmla="*/ 51630 w 2678924"/>
                <a:gd name="connsiteY12" fmla="*/ 4152900 h 4914900"/>
                <a:gd name="connsiteX13" fmla="*/ 51630 w 2678924"/>
                <a:gd name="connsiteY13" fmla="*/ 3133725 h 4914900"/>
                <a:gd name="connsiteX14" fmla="*/ 1213680 w 2678924"/>
                <a:gd name="connsiteY14" fmla="*/ 3533775 h 4914900"/>
                <a:gd name="connsiteX15" fmla="*/ 1366080 w 2678924"/>
                <a:gd name="connsiteY15" fmla="*/ 3086100 h 4914900"/>
                <a:gd name="connsiteX16" fmla="*/ 32580 w 2678924"/>
                <a:gd name="connsiteY16" fmla="*/ 1447800 h 4914900"/>
                <a:gd name="connsiteX17" fmla="*/ 1070805 w 2678924"/>
                <a:gd name="connsiteY17" fmla="*/ 561975 h 4914900"/>
                <a:gd name="connsiteX18" fmla="*/ 1061280 w 2678924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76383" h="4914900">
                  <a:moveTo>
                    <a:pt x="1058739" y="0"/>
                  </a:moveTo>
                  <a:lnTo>
                    <a:pt x="1706439" y="0"/>
                  </a:lnTo>
                  <a:lnTo>
                    <a:pt x="1706439" y="523875"/>
                  </a:lnTo>
                  <a:cubicBezTo>
                    <a:pt x="2008064" y="531813"/>
                    <a:pt x="2233489" y="573087"/>
                    <a:pt x="2497014" y="647700"/>
                  </a:cubicBezTo>
                  <a:lnTo>
                    <a:pt x="2497014" y="1628775"/>
                  </a:lnTo>
                  <a:cubicBezTo>
                    <a:pt x="2047752" y="1390650"/>
                    <a:pt x="1488951" y="1281112"/>
                    <a:pt x="1306389" y="1400175"/>
                  </a:cubicBezTo>
                  <a:cubicBezTo>
                    <a:pt x="1127001" y="1471613"/>
                    <a:pt x="1142876" y="1714500"/>
                    <a:pt x="1268289" y="1800225"/>
                  </a:cubicBezTo>
                  <a:cubicBezTo>
                    <a:pt x="1425452" y="2020888"/>
                    <a:pt x="2792289" y="2236787"/>
                    <a:pt x="2668464" y="3276600"/>
                  </a:cubicBezTo>
                  <a:cubicBezTo>
                    <a:pt x="2608139" y="4000500"/>
                    <a:pt x="1966789" y="4233862"/>
                    <a:pt x="1715964" y="4305300"/>
                  </a:cubicBezTo>
                  <a:lnTo>
                    <a:pt x="1715964" y="4914900"/>
                  </a:lnTo>
                  <a:lnTo>
                    <a:pt x="1068264" y="4914900"/>
                  </a:lnTo>
                  <a:lnTo>
                    <a:pt x="1068264" y="4381500"/>
                  </a:lnTo>
                  <a:cubicBezTo>
                    <a:pt x="685676" y="4371975"/>
                    <a:pt x="222127" y="4267200"/>
                    <a:pt x="49089" y="4152900"/>
                  </a:cubicBezTo>
                  <a:lnTo>
                    <a:pt x="49089" y="3133725"/>
                  </a:lnTo>
                  <a:cubicBezTo>
                    <a:pt x="403102" y="3438525"/>
                    <a:pt x="923802" y="3562350"/>
                    <a:pt x="1211139" y="3533775"/>
                  </a:cubicBezTo>
                  <a:cubicBezTo>
                    <a:pt x="1490539" y="3503613"/>
                    <a:pt x="1498476" y="3201988"/>
                    <a:pt x="1363539" y="3086100"/>
                  </a:cubicBezTo>
                  <a:cubicBezTo>
                    <a:pt x="1176215" y="2820987"/>
                    <a:pt x="-220786" y="2727324"/>
                    <a:pt x="30039" y="1447800"/>
                  </a:cubicBezTo>
                  <a:cubicBezTo>
                    <a:pt x="142751" y="795338"/>
                    <a:pt x="798389" y="585787"/>
                    <a:pt x="1068264" y="561975"/>
                  </a:cubicBezTo>
                  <a:lnTo>
                    <a:pt x="105873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Circle: Hollow 15"/>
            <p:cNvSpPr/>
            <p:nvPr/>
          </p:nvSpPr>
          <p:spPr>
            <a:xfrm>
              <a:off x="11261467" y="1931193"/>
              <a:ext cx="446783" cy="446783"/>
            </a:xfrm>
            <a:prstGeom prst="donut">
              <a:avLst>
                <a:gd name="adj" fmla="val 7797"/>
              </a:avLst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</p:grp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1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7569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8312683" y="2583935"/>
            <a:ext cx="3754057" cy="30040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txBody>
          <a:bodyPr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ower FastTrack help desk cost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re efficient usage of help desk time through tiering of issues 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ROI of FastTrack groups due to more time spent on high value strategic initiativ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364067" y="2583935"/>
            <a:ext cx="3754057" cy="30040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txBody>
          <a:bodyPr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grammatic hooks into process database with write-back capability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ert process knowledge to facilitate process progress and adherenc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tinct pathing and expertise in order to answer question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ductions in processing time due to 24/7 availability of an expert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bility to integrate with other BOTs and systems. </a:t>
            </a:r>
          </a:p>
        </p:txBody>
      </p:sp>
      <p:sp>
        <p:nvSpPr>
          <p:cNvPr id="8" name="Rectangle 7"/>
          <p:cNvSpPr/>
          <p:nvPr/>
        </p:nvSpPr>
        <p:spPr>
          <a:xfrm>
            <a:off x="4305734" y="2583935"/>
            <a:ext cx="3754057" cy="30040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txBody>
          <a:bodyPr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zure Search configured over highly relevant content provides a seamless way to do deep indexing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isting Q+A features and ability to store historically successful answers enable great email &amp; chat support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calable BOT allows for support staff requirements to remain minimal as companies use technology to sca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701731"/>
          </a:xfrm>
        </p:spPr>
        <p:txBody>
          <a:bodyPr/>
          <a:lstStyle/>
          <a:p>
            <a:r>
              <a:rPr lang="en-US" dirty="0"/>
              <a:t>Key BOT Use Cases</a:t>
            </a:r>
          </a:p>
        </p:txBody>
      </p:sp>
      <p:sp>
        <p:nvSpPr>
          <p:cNvPr id="4" name="Rectangle 3"/>
          <p:cNvSpPr/>
          <p:nvPr/>
        </p:nvSpPr>
        <p:spPr>
          <a:xfrm>
            <a:off x="4305734" y="1685362"/>
            <a:ext cx="3754057" cy="898573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  <a:effectLst/>
        </p:spPr>
        <p:txBody>
          <a:bodyPr rtlCol="0" anchor="ctr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Support Response Automation &amp; Q+A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4067" y="1685362"/>
            <a:ext cx="3754057" cy="898573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  <a:effectLst/>
        </p:spPr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+mj-lt"/>
              </a:rPr>
              <a:t>Process Automation &amp; Expert System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312683" y="1685362"/>
            <a:ext cx="3754057" cy="898573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  <a:effectLst/>
        </p:spPr>
        <p:txBody>
          <a:bodyPr rtlCol="0" anchor="ctr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Automated Sales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Freeform: Shape 11"/>
          <p:cNvSpPr/>
          <p:nvPr/>
        </p:nvSpPr>
        <p:spPr>
          <a:xfrm>
            <a:off x="7573564" y="1730231"/>
            <a:ext cx="444914" cy="444913"/>
          </a:xfrm>
          <a:custGeom>
            <a:avLst/>
            <a:gdLst>
              <a:gd name="connsiteX0" fmla="*/ 2373437 w 4810408"/>
              <a:gd name="connsiteY0" fmla="*/ 3900602 h 4810401"/>
              <a:gd name="connsiteX1" fmla="*/ 2383604 w 4810408"/>
              <a:gd name="connsiteY1" fmla="*/ 3900602 h 4810401"/>
              <a:gd name="connsiteX2" fmla="*/ 2398853 w 4810408"/>
              <a:gd name="connsiteY2" fmla="*/ 3900602 h 4810401"/>
              <a:gd name="connsiteX3" fmla="*/ 2414103 w 4810408"/>
              <a:gd name="connsiteY3" fmla="*/ 3900602 h 4810401"/>
              <a:gd name="connsiteX4" fmla="*/ 2421727 w 4810408"/>
              <a:gd name="connsiteY4" fmla="*/ 3900602 h 4810401"/>
              <a:gd name="connsiteX5" fmla="*/ 2436976 w 4810408"/>
              <a:gd name="connsiteY5" fmla="*/ 3905602 h 4810401"/>
              <a:gd name="connsiteX6" fmla="*/ 2447140 w 4810408"/>
              <a:gd name="connsiteY6" fmla="*/ 3910602 h 4810401"/>
              <a:gd name="connsiteX7" fmla="*/ 2457307 w 4810408"/>
              <a:gd name="connsiteY7" fmla="*/ 3915598 h 4810401"/>
              <a:gd name="connsiteX8" fmla="*/ 2475099 w 4810408"/>
              <a:gd name="connsiteY8" fmla="*/ 3925597 h 4810401"/>
              <a:gd name="connsiteX9" fmla="*/ 2490348 w 4810408"/>
              <a:gd name="connsiteY9" fmla="*/ 3940593 h 4810401"/>
              <a:gd name="connsiteX10" fmla="*/ 2500515 w 4810408"/>
              <a:gd name="connsiteY10" fmla="*/ 3948091 h 4810401"/>
              <a:gd name="connsiteX11" fmla="*/ 2510679 w 4810408"/>
              <a:gd name="connsiteY11" fmla="*/ 3958090 h 4810401"/>
              <a:gd name="connsiteX12" fmla="*/ 2515764 w 4810408"/>
              <a:gd name="connsiteY12" fmla="*/ 3968087 h 4810401"/>
              <a:gd name="connsiteX13" fmla="*/ 2518304 w 4810408"/>
              <a:gd name="connsiteY13" fmla="*/ 3973086 h 4810401"/>
              <a:gd name="connsiteX14" fmla="*/ 2515764 w 4810408"/>
              <a:gd name="connsiteY14" fmla="*/ 4295508 h 4810401"/>
              <a:gd name="connsiteX15" fmla="*/ 2500515 w 4810408"/>
              <a:gd name="connsiteY15" fmla="*/ 4305504 h 4810401"/>
              <a:gd name="connsiteX16" fmla="*/ 2490348 w 4810408"/>
              <a:gd name="connsiteY16" fmla="*/ 4315504 h 4810401"/>
              <a:gd name="connsiteX17" fmla="*/ 2475099 w 4810408"/>
              <a:gd name="connsiteY17" fmla="*/ 4325500 h 4810401"/>
              <a:gd name="connsiteX18" fmla="*/ 2467474 w 4810408"/>
              <a:gd name="connsiteY18" fmla="*/ 4332998 h 4810401"/>
              <a:gd name="connsiteX19" fmla="*/ 2452225 w 4810408"/>
              <a:gd name="connsiteY19" fmla="*/ 4337997 h 4810401"/>
              <a:gd name="connsiteX20" fmla="*/ 2442058 w 4810408"/>
              <a:gd name="connsiteY20" fmla="*/ 4342997 h 4810401"/>
              <a:gd name="connsiteX21" fmla="*/ 2431891 w 4810408"/>
              <a:gd name="connsiteY21" fmla="*/ 4347997 h 4810401"/>
              <a:gd name="connsiteX22" fmla="*/ 2421727 w 4810408"/>
              <a:gd name="connsiteY22" fmla="*/ 4352993 h 4810401"/>
              <a:gd name="connsiteX23" fmla="*/ 2398853 w 4810408"/>
              <a:gd name="connsiteY23" fmla="*/ 4352993 h 4810401"/>
              <a:gd name="connsiteX24" fmla="*/ 2383604 w 4810408"/>
              <a:gd name="connsiteY24" fmla="*/ 4352993 h 4810401"/>
              <a:gd name="connsiteX25" fmla="*/ 2365813 w 4810408"/>
              <a:gd name="connsiteY25" fmla="*/ 4347997 h 4810401"/>
              <a:gd name="connsiteX26" fmla="*/ 2355646 w 4810408"/>
              <a:gd name="connsiteY26" fmla="*/ 4342997 h 4810401"/>
              <a:gd name="connsiteX27" fmla="*/ 2335315 w 4810408"/>
              <a:gd name="connsiteY27" fmla="*/ 4332998 h 4810401"/>
              <a:gd name="connsiteX28" fmla="*/ 2325147 w 4810408"/>
              <a:gd name="connsiteY28" fmla="*/ 4328001 h 4810401"/>
              <a:gd name="connsiteX29" fmla="*/ 2312441 w 4810408"/>
              <a:gd name="connsiteY29" fmla="*/ 4320500 h 4810401"/>
              <a:gd name="connsiteX30" fmla="*/ 2307356 w 4810408"/>
              <a:gd name="connsiteY30" fmla="*/ 4310504 h 4810401"/>
              <a:gd name="connsiteX31" fmla="*/ 2297192 w 4810408"/>
              <a:gd name="connsiteY31" fmla="*/ 4295508 h 4810401"/>
              <a:gd name="connsiteX32" fmla="*/ 2292107 w 4810408"/>
              <a:gd name="connsiteY32" fmla="*/ 4290509 h 4810401"/>
              <a:gd name="connsiteX33" fmla="*/ 2292107 w 4810408"/>
              <a:gd name="connsiteY33" fmla="*/ 3973086 h 4810401"/>
              <a:gd name="connsiteX34" fmla="*/ 2302274 w 4810408"/>
              <a:gd name="connsiteY34" fmla="*/ 3963087 h 4810401"/>
              <a:gd name="connsiteX35" fmla="*/ 2312441 w 4810408"/>
              <a:gd name="connsiteY35" fmla="*/ 3943091 h 4810401"/>
              <a:gd name="connsiteX36" fmla="*/ 2325147 w 4810408"/>
              <a:gd name="connsiteY36" fmla="*/ 3935594 h 4810401"/>
              <a:gd name="connsiteX37" fmla="*/ 2340397 w 4810408"/>
              <a:gd name="connsiteY37" fmla="*/ 3915598 h 4810401"/>
              <a:gd name="connsiteX38" fmla="*/ 2365813 w 4810408"/>
              <a:gd name="connsiteY38" fmla="*/ 3905602 h 4810401"/>
              <a:gd name="connsiteX39" fmla="*/ 3151061 w 4810408"/>
              <a:gd name="connsiteY39" fmla="*/ 3659326 h 4810401"/>
              <a:gd name="connsiteX40" fmla="*/ 3166035 w 4810408"/>
              <a:gd name="connsiteY40" fmla="*/ 3659326 h 4810401"/>
              <a:gd name="connsiteX41" fmla="*/ 3176018 w 4810408"/>
              <a:gd name="connsiteY41" fmla="*/ 3659326 h 4810401"/>
              <a:gd name="connsiteX42" fmla="*/ 3190995 w 4810408"/>
              <a:gd name="connsiteY42" fmla="*/ 3659326 h 4810401"/>
              <a:gd name="connsiteX43" fmla="*/ 3198484 w 4810408"/>
              <a:gd name="connsiteY43" fmla="*/ 3659326 h 4810401"/>
              <a:gd name="connsiteX44" fmla="*/ 3218450 w 4810408"/>
              <a:gd name="connsiteY44" fmla="*/ 3659326 h 4810401"/>
              <a:gd name="connsiteX45" fmla="*/ 3233427 w 4810408"/>
              <a:gd name="connsiteY45" fmla="*/ 3659326 h 4810401"/>
              <a:gd name="connsiteX46" fmla="*/ 3250899 w 4810408"/>
              <a:gd name="connsiteY46" fmla="*/ 3669380 h 4810401"/>
              <a:gd name="connsiteX47" fmla="*/ 3428110 w 4810408"/>
              <a:gd name="connsiteY47" fmla="*/ 3950867 h 4810401"/>
              <a:gd name="connsiteX48" fmla="*/ 3423119 w 4810408"/>
              <a:gd name="connsiteY48" fmla="*/ 3950867 h 4810401"/>
              <a:gd name="connsiteX49" fmla="*/ 3423119 w 4810408"/>
              <a:gd name="connsiteY49" fmla="*/ 3960920 h 4810401"/>
              <a:gd name="connsiteX50" fmla="*/ 3423119 w 4810408"/>
              <a:gd name="connsiteY50" fmla="*/ 3970973 h 4810401"/>
              <a:gd name="connsiteX51" fmla="*/ 3418126 w 4810408"/>
              <a:gd name="connsiteY51" fmla="*/ 3988565 h 4810401"/>
              <a:gd name="connsiteX52" fmla="*/ 3408143 w 4810408"/>
              <a:gd name="connsiteY52" fmla="*/ 4008672 h 4810401"/>
              <a:gd name="connsiteX53" fmla="*/ 3403149 w 4810408"/>
              <a:gd name="connsiteY53" fmla="*/ 4028778 h 4810401"/>
              <a:gd name="connsiteX54" fmla="*/ 3390671 w 4810408"/>
              <a:gd name="connsiteY54" fmla="*/ 4041345 h 4810401"/>
              <a:gd name="connsiteX55" fmla="*/ 3370704 w 4810408"/>
              <a:gd name="connsiteY55" fmla="*/ 4066480 h 4810401"/>
              <a:gd name="connsiteX56" fmla="*/ 3360720 w 4810408"/>
              <a:gd name="connsiteY56" fmla="*/ 4066480 h 4810401"/>
              <a:gd name="connsiteX57" fmla="*/ 3345744 w 4810408"/>
              <a:gd name="connsiteY57" fmla="*/ 4076533 h 4810401"/>
              <a:gd name="connsiteX58" fmla="*/ 3338255 w 4810408"/>
              <a:gd name="connsiteY58" fmla="*/ 4076533 h 4810401"/>
              <a:gd name="connsiteX59" fmla="*/ 3328272 w 4810408"/>
              <a:gd name="connsiteY59" fmla="*/ 4081558 h 4810401"/>
              <a:gd name="connsiteX60" fmla="*/ 3313298 w 4810408"/>
              <a:gd name="connsiteY60" fmla="*/ 4081558 h 4810401"/>
              <a:gd name="connsiteX61" fmla="*/ 3303312 w 4810408"/>
              <a:gd name="connsiteY61" fmla="*/ 4081558 h 4810401"/>
              <a:gd name="connsiteX62" fmla="*/ 3290833 w 4810408"/>
              <a:gd name="connsiteY62" fmla="*/ 4076533 h 4810401"/>
              <a:gd name="connsiteX63" fmla="*/ 3280850 w 4810408"/>
              <a:gd name="connsiteY63" fmla="*/ 4076533 h 4810401"/>
              <a:gd name="connsiteX64" fmla="*/ 3260883 w 4810408"/>
              <a:gd name="connsiteY64" fmla="*/ 4066480 h 4810401"/>
              <a:gd name="connsiteX65" fmla="*/ 3245906 w 4810408"/>
              <a:gd name="connsiteY65" fmla="*/ 4061451 h 4810401"/>
              <a:gd name="connsiteX66" fmla="*/ 3238417 w 4810408"/>
              <a:gd name="connsiteY66" fmla="*/ 4056426 h 4810401"/>
              <a:gd name="connsiteX67" fmla="*/ 3233427 w 4810408"/>
              <a:gd name="connsiteY67" fmla="*/ 4056426 h 4810401"/>
              <a:gd name="connsiteX68" fmla="*/ 3071190 w 4810408"/>
              <a:gd name="connsiteY68" fmla="*/ 3790017 h 4810401"/>
              <a:gd name="connsiteX69" fmla="*/ 3066197 w 4810408"/>
              <a:gd name="connsiteY69" fmla="*/ 3784992 h 4810401"/>
              <a:gd name="connsiteX70" fmla="*/ 3066197 w 4810408"/>
              <a:gd name="connsiteY70" fmla="*/ 3779964 h 4810401"/>
              <a:gd name="connsiteX71" fmla="*/ 3066197 w 4810408"/>
              <a:gd name="connsiteY71" fmla="*/ 3769911 h 4810401"/>
              <a:gd name="connsiteX72" fmla="*/ 3071190 w 4810408"/>
              <a:gd name="connsiteY72" fmla="*/ 3759858 h 4810401"/>
              <a:gd name="connsiteX73" fmla="*/ 3071190 w 4810408"/>
              <a:gd name="connsiteY73" fmla="*/ 3744780 h 4810401"/>
              <a:gd name="connsiteX74" fmla="*/ 3076181 w 4810408"/>
              <a:gd name="connsiteY74" fmla="*/ 3737237 h 4810401"/>
              <a:gd name="connsiteX75" fmla="*/ 3081174 w 4810408"/>
              <a:gd name="connsiteY75" fmla="*/ 3722159 h 4810401"/>
              <a:gd name="connsiteX76" fmla="*/ 3091157 w 4810408"/>
              <a:gd name="connsiteY76" fmla="*/ 3712106 h 4810401"/>
              <a:gd name="connsiteX77" fmla="*/ 3098646 w 4810408"/>
              <a:gd name="connsiteY77" fmla="*/ 3697025 h 4810401"/>
              <a:gd name="connsiteX78" fmla="*/ 3108629 w 4810408"/>
              <a:gd name="connsiteY78" fmla="*/ 3684461 h 4810401"/>
              <a:gd name="connsiteX79" fmla="*/ 3123606 w 4810408"/>
              <a:gd name="connsiteY79" fmla="*/ 3674408 h 4810401"/>
              <a:gd name="connsiteX80" fmla="*/ 3143573 w 4810408"/>
              <a:gd name="connsiteY80" fmla="*/ 3664355 h 4810401"/>
              <a:gd name="connsiteX81" fmla="*/ 1637371 w 4810408"/>
              <a:gd name="connsiteY81" fmla="*/ 3659326 h 4810401"/>
              <a:gd name="connsiteX82" fmla="*/ 1657335 w 4810408"/>
              <a:gd name="connsiteY82" fmla="*/ 3659326 h 4810401"/>
              <a:gd name="connsiteX83" fmla="*/ 1667316 w 4810408"/>
              <a:gd name="connsiteY83" fmla="*/ 3659326 h 4810401"/>
              <a:gd name="connsiteX84" fmla="*/ 1684784 w 4810408"/>
              <a:gd name="connsiteY84" fmla="*/ 3659326 h 4810401"/>
              <a:gd name="connsiteX85" fmla="*/ 1694768 w 4810408"/>
              <a:gd name="connsiteY85" fmla="*/ 3659326 h 4810401"/>
              <a:gd name="connsiteX86" fmla="*/ 1709738 w 4810408"/>
              <a:gd name="connsiteY86" fmla="*/ 3659326 h 4810401"/>
              <a:gd name="connsiteX87" fmla="*/ 1719722 w 4810408"/>
              <a:gd name="connsiteY87" fmla="*/ 3659326 h 4810401"/>
              <a:gd name="connsiteX88" fmla="*/ 1729702 w 4810408"/>
              <a:gd name="connsiteY88" fmla="*/ 3664355 h 4810401"/>
              <a:gd name="connsiteX89" fmla="*/ 1747171 w 4810408"/>
              <a:gd name="connsiteY89" fmla="*/ 3674408 h 4810401"/>
              <a:gd name="connsiteX90" fmla="*/ 1762144 w 4810408"/>
              <a:gd name="connsiteY90" fmla="*/ 3684461 h 4810401"/>
              <a:gd name="connsiteX91" fmla="*/ 1777118 w 4810408"/>
              <a:gd name="connsiteY91" fmla="*/ 3697025 h 4810401"/>
              <a:gd name="connsiteX92" fmla="*/ 1784603 w 4810408"/>
              <a:gd name="connsiteY92" fmla="*/ 3712106 h 4810401"/>
              <a:gd name="connsiteX93" fmla="*/ 1789593 w 4810408"/>
              <a:gd name="connsiteY93" fmla="*/ 3722159 h 4810401"/>
              <a:gd name="connsiteX94" fmla="*/ 1799577 w 4810408"/>
              <a:gd name="connsiteY94" fmla="*/ 3737237 h 4810401"/>
              <a:gd name="connsiteX95" fmla="*/ 1799577 w 4810408"/>
              <a:gd name="connsiteY95" fmla="*/ 3744780 h 4810401"/>
              <a:gd name="connsiteX96" fmla="*/ 1804567 w 4810408"/>
              <a:gd name="connsiteY96" fmla="*/ 3759858 h 4810401"/>
              <a:gd name="connsiteX97" fmla="*/ 1804567 w 4810408"/>
              <a:gd name="connsiteY97" fmla="*/ 3769911 h 4810401"/>
              <a:gd name="connsiteX98" fmla="*/ 1804567 w 4810408"/>
              <a:gd name="connsiteY98" fmla="*/ 3779964 h 4810401"/>
              <a:gd name="connsiteX99" fmla="*/ 1804567 w 4810408"/>
              <a:gd name="connsiteY99" fmla="*/ 3784992 h 4810401"/>
              <a:gd name="connsiteX100" fmla="*/ 1809557 w 4810408"/>
              <a:gd name="connsiteY100" fmla="*/ 3790017 h 4810401"/>
              <a:gd name="connsiteX101" fmla="*/ 1642362 w 4810408"/>
              <a:gd name="connsiteY101" fmla="*/ 4056426 h 4810401"/>
              <a:gd name="connsiteX102" fmla="*/ 1637371 w 4810408"/>
              <a:gd name="connsiteY102" fmla="*/ 4056426 h 4810401"/>
              <a:gd name="connsiteX103" fmla="*/ 1629886 w 4810408"/>
              <a:gd name="connsiteY103" fmla="*/ 4061451 h 4810401"/>
              <a:gd name="connsiteX104" fmla="*/ 1614913 w 4810408"/>
              <a:gd name="connsiteY104" fmla="*/ 4066480 h 4810401"/>
              <a:gd name="connsiteX105" fmla="*/ 1594949 w 4810408"/>
              <a:gd name="connsiteY105" fmla="*/ 4076533 h 4810401"/>
              <a:gd name="connsiteX106" fmla="*/ 1587464 w 4810408"/>
              <a:gd name="connsiteY106" fmla="*/ 4076533 h 4810401"/>
              <a:gd name="connsiteX107" fmla="*/ 1572490 w 4810408"/>
              <a:gd name="connsiteY107" fmla="*/ 4081558 h 4810401"/>
              <a:gd name="connsiteX108" fmla="*/ 1562507 w 4810408"/>
              <a:gd name="connsiteY108" fmla="*/ 4081558 h 4810401"/>
              <a:gd name="connsiteX109" fmla="*/ 1552526 w 4810408"/>
              <a:gd name="connsiteY109" fmla="*/ 4081558 h 4810401"/>
              <a:gd name="connsiteX110" fmla="*/ 1540048 w 4810408"/>
              <a:gd name="connsiteY110" fmla="*/ 4076533 h 4810401"/>
              <a:gd name="connsiteX111" fmla="*/ 1530067 w 4810408"/>
              <a:gd name="connsiteY111" fmla="*/ 4076533 h 4810401"/>
              <a:gd name="connsiteX112" fmla="*/ 1520084 w 4810408"/>
              <a:gd name="connsiteY112" fmla="*/ 4066480 h 4810401"/>
              <a:gd name="connsiteX113" fmla="*/ 1510104 w 4810408"/>
              <a:gd name="connsiteY113" fmla="*/ 4066480 h 4810401"/>
              <a:gd name="connsiteX114" fmla="*/ 1490140 w 4810408"/>
              <a:gd name="connsiteY114" fmla="*/ 4041345 h 4810401"/>
              <a:gd name="connsiteX115" fmla="*/ 1477661 w 4810408"/>
              <a:gd name="connsiteY115" fmla="*/ 4028778 h 4810401"/>
              <a:gd name="connsiteX116" fmla="*/ 1467681 w 4810408"/>
              <a:gd name="connsiteY116" fmla="*/ 4008672 h 4810401"/>
              <a:gd name="connsiteX117" fmla="*/ 1462688 w 4810408"/>
              <a:gd name="connsiteY117" fmla="*/ 3988565 h 4810401"/>
              <a:gd name="connsiteX118" fmla="*/ 1457698 w 4810408"/>
              <a:gd name="connsiteY118" fmla="*/ 3970973 h 4810401"/>
              <a:gd name="connsiteX119" fmla="*/ 1457698 w 4810408"/>
              <a:gd name="connsiteY119" fmla="*/ 3960920 h 4810401"/>
              <a:gd name="connsiteX120" fmla="*/ 1457698 w 4810408"/>
              <a:gd name="connsiteY120" fmla="*/ 3950867 h 4810401"/>
              <a:gd name="connsiteX121" fmla="*/ 1624893 w 4810408"/>
              <a:gd name="connsiteY121" fmla="*/ 3669380 h 4810401"/>
              <a:gd name="connsiteX122" fmla="*/ 3774940 w 4810408"/>
              <a:gd name="connsiteY122" fmla="*/ 3076246 h 4810401"/>
              <a:gd name="connsiteX123" fmla="*/ 3792535 w 4810408"/>
              <a:gd name="connsiteY123" fmla="*/ 3076246 h 4810401"/>
              <a:gd name="connsiteX124" fmla="*/ 4056430 w 4810408"/>
              <a:gd name="connsiteY124" fmla="*/ 3265938 h 4810401"/>
              <a:gd name="connsiteX125" fmla="*/ 4061455 w 4810408"/>
              <a:gd name="connsiteY125" fmla="*/ 3280915 h 4810401"/>
              <a:gd name="connsiteX126" fmla="*/ 4066483 w 4810408"/>
              <a:gd name="connsiteY126" fmla="*/ 3290899 h 4810401"/>
              <a:gd name="connsiteX127" fmla="*/ 4071508 w 4810408"/>
              <a:gd name="connsiteY127" fmla="*/ 3308371 h 4810401"/>
              <a:gd name="connsiteX128" fmla="*/ 4071508 w 4810408"/>
              <a:gd name="connsiteY128" fmla="*/ 3313361 h 4810401"/>
              <a:gd name="connsiteX129" fmla="*/ 4071508 w 4810408"/>
              <a:gd name="connsiteY129" fmla="*/ 3328337 h 4810401"/>
              <a:gd name="connsiteX130" fmla="*/ 4071508 w 4810408"/>
              <a:gd name="connsiteY130" fmla="*/ 3338321 h 4810401"/>
              <a:gd name="connsiteX131" fmla="*/ 4071508 w 4810408"/>
              <a:gd name="connsiteY131" fmla="*/ 3348304 h 4810401"/>
              <a:gd name="connsiteX132" fmla="*/ 4066483 w 4810408"/>
              <a:gd name="connsiteY132" fmla="*/ 3360786 h 4810401"/>
              <a:gd name="connsiteX133" fmla="*/ 4061455 w 4810408"/>
              <a:gd name="connsiteY133" fmla="*/ 3370770 h 4810401"/>
              <a:gd name="connsiteX134" fmla="*/ 4056430 w 4810408"/>
              <a:gd name="connsiteY134" fmla="*/ 3380753 h 4810401"/>
              <a:gd name="connsiteX135" fmla="*/ 4056430 w 4810408"/>
              <a:gd name="connsiteY135" fmla="*/ 3395730 h 4810401"/>
              <a:gd name="connsiteX136" fmla="*/ 4046377 w 4810408"/>
              <a:gd name="connsiteY136" fmla="*/ 3403215 h 4810401"/>
              <a:gd name="connsiteX137" fmla="*/ 4036324 w 4810408"/>
              <a:gd name="connsiteY137" fmla="*/ 3413198 h 4810401"/>
              <a:gd name="connsiteX138" fmla="*/ 4026271 w 4810408"/>
              <a:gd name="connsiteY138" fmla="*/ 3418192 h 4810401"/>
              <a:gd name="connsiteX139" fmla="*/ 4018729 w 4810408"/>
              <a:gd name="connsiteY139" fmla="*/ 3423185 h 4810401"/>
              <a:gd name="connsiteX140" fmla="*/ 4008676 w 4810408"/>
              <a:gd name="connsiteY140" fmla="*/ 3428175 h 4810401"/>
              <a:gd name="connsiteX141" fmla="*/ 3998622 w 4810408"/>
              <a:gd name="connsiteY141" fmla="*/ 3433169 h 4810401"/>
              <a:gd name="connsiteX142" fmla="*/ 3983544 w 4810408"/>
              <a:gd name="connsiteY142" fmla="*/ 3433169 h 4810401"/>
              <a:gd name="connsiteX143" fmla="*/ 3976005 w 4810408"/>
              <a:gd name="connsiteY143" fmla="*/ 3438159 h 4810401"/>
              <a:gd name="connsiteX144" fmla="*/ 3965952 w 4810408"/>
              <a:gd name="connsiteY144" fmla="*/ 3438159 h 4810401"/>
              <a:gd name="connsiteX145" fmla="*/ 3950871 w 4810408"/>
              <a:gd name="connsiteY145" fmla="*/ 3438159 h 4810401"/>
              <a:gd name="connsiteX146" fmla="*/ 3940818 w 4810408"/>
              <a:gd name="connsiteY146" fmla="*/ 3438159 h 4810401"/>
              <a:gd name="connsiteX147" fmla="*/ 3935793 w 4810408"/>
              <a:gd name="connsiteY147" fmla="*/ 3438159 h 4810401"/>
              <a:gd name="connsiteX148" fmla="*/ 3928251 w 4810408"/>
              <a:gd name="connsiteY148" fmla="*/ 3438159 h 4810401"/>
              <a:gd name="connsiteX149" fmla="*/ 3923226 w 4810408"/>
              <a:gd name="connsiteY149" fmla="*/ 3438159 h 4810401"/>
              <a:gd name="connsiteX150" fmla="*/ 3669383 w 4810408"/>
              <a:gd name="connsiteY150" fmla="*/ 3258450 h 4810401"/>
              <a:gd name="connsiteX151" fmla="*/ 3664355 w 4810408"/>
              <a:gd name="connsiteY151" fmla="*/ 3253460 h 4810401"/>
              <a:gd name="connsiteX152" fmla="*/ 3664355 w 4810408"/>
              <a:gd name="connsiteY152" fmla="*/ 3248467 h 4810401"/>
              <a:gd name="connsiteX153" fmla="*/ 3659330 w 4810408"/>
              <a:gd name="connsiteY153" fmla="*/ 3238483 h 4810401"/>
              <a:gd name="connsiteX154" fmla="*/ 3659330 w 4810408"/>
              <a:gd name="connsiteY154" fmla="*/ 3228500 h 4810401"/>
              <a:gd name="connsiteX155" fmla="*/ 3654302 w 4810408"/>
              <a:gd name="connsiteY155" fmla="*/ 3218516 h 4810401"/>
              <a:gd name="connsiteX156" fmla="*/ 3654302 w 4810408"/>
              <a:gd name="connsiteY156" fmla="*/ 3206038 h 4810401"/>
              <a:gd name="connsiteX157" fmla="*/ 3654302 w 4810408"/>
              <a:gd name="connsiteY157" fmla="*/ 3191061 h 4810401"/>
              <a:gd name="connsiteX158" fmla="*/ 3659330 w 4810408"/>
              <a:gd name="connsiteY158" fmla="*/ 3176084 h 4810401"/>
              <a:gd name="connsiteX159" fmla="*/ 3659330 w 4810408"/>
              <a:gd name="connsiteY159" fmla="*/ 3158612 h 4810401"/>
              <a:gd name="connsiteX160" fmla="*/ 3669383 w 4810408"/>
              <a:gd name="connsiteY160" fmla="*/ 3143639 h 4810401"/>
              <a:gd name="connsiteX161" fmla="*/ 3679437 w 4810408"/>
              <a:gd name="connsiteY161" fmla="*/ 3128662 h 4810401"/>
              <a:gd name="connsiteX162" fmla="*/ 3692004 w 4810408"/>
              <a:gd name="connsiteY162" fmla="*/ 3116183 h 4810401"/>
              <a:gd name="connsiteX163" fmla="*/ 3697029 w 4810408"/>
              <a:gd name="connsiteY163" fmla="*/ 3111190 h 4810401"/>
              <a:gd name="connsiteX164" fmla="*/ 3712110 w 4810408"/>
              <a:gd name="connsiteY164" fmla="*/ 3106200 h 4810401"/>
              <a:gd name="connsiteX165" fmla="*/ 3722163 w 4810408"/>
              <a:gd name="connsiteY165" fmla="*/ 3096213 h 4810401"/>
              <a:gd name="connsiteX166" fmla="*/ 3732216 w 4810408"/>
              <a:gd name="connsiteY166" fmla="*/ 3091223 h 4810401"/>
              <a:gd name="connsiteX167" fmla="*/ 3744780 w 4810408"/>
              <a:gd name="connsiteY167" fmla="*/ 3086230 h 4810401"/>
              <a:gd name="connsiteX168" fmla="*/ 3759862 w 4810408"/>
              <a:gd name="connsiteY168" fmla="*/ 3081240 h 4810401"/>
              <a:gd name="connsiteX169" fmla="*/ 1083217 w 4810408"/>
              <a:gd name="connsiteY169" fmla="*/ 3076246 h 4810401"/>
              <a:gd name="connsiteX170" fmla="*/ 1098295 w 4810408"/>
              <a:gd name="connsiteY170" fmla="*/ 3076246 h 4810401"/>
              <a:gd name="connsiteX171" fmla="*/ 1110862 w 4810408"/>
              <a:gd name="connsiteY171" fmla="*/ 3081240 h 4810401"/>
              <a:gd name="connsiteX172" fmla="*/ 1125944 w 4810408"/>
              <a:gd name="connsiteY172" fmla="*/ 3086230 h 4810401"/>
              <a:gd name="connsiteX173" fmla="*/ 1141022 w 4810408"/>
              <a:gd name="connsiteY173" fmla="*/ 3091223 h 4810401"/>
              <a:gd name="connsiteX174" fmla="*/ 1153589 w 4810408"/>
              <a:gd name="connsiteY174" fmla="*/ 3096213 h 4810401"/>
              <a:gd name="connsiteX175" fmla="*/ 1163642 w 4810408"/>
              <a:gd name="connsiteY175" fmla="*/ 3106200 h 4810401"/>
              <a:gd name="connsiteX176" fmla="*/ 1173695 w 4810408"/>
              <a:gd name="connsiteY176" fmla="*/ 3111190 h 4810401"/>
              <a:gd name="connsiteX177" fmla="*/ 1183748 w 4810408"/>
              <a:gd name="connsiteY177" fmla="*/ 3116183 h 4810401"/>
              <a:gd name="connsiteX178" fmla="*/ 1193801 w 4810408"/>
              <a:gd name="connsiteY178" fmla="*/ 3128662 h 4810401"/>
              <a:gd name="connsiteX179" fmla="*/ 1206369 w 4810408"/>
              <a:gd name="connsiteY179" fmla="*/ 3143639 h 4810401"/>
              <a:gd name="connsiteX180" fmla="*/ 1211394 w 4810408"/>
              <a:gd name="connsiteY180" fmla="*/ 3158612 h 4810401"/>
              <a:gd name="connsiteX181" fmla="*/ 1216422 w 4810408"/>
              <a:gd name="connsiteY181" fmla="*/ 3176084 h 4810401"/>
              <a:gd name="connsiteX182" fmla="*/ 1216422 w 4810408"/>
              <a:gd name="connsiteY182" fmla="*/ 3191061 h 4810401"/>
              <a:gd name="connsiteX183" fmla="*/ 1221447 w 4810408"/>
              <a:gd name="connsiteY183" fmla="*/ 3206038 h 4810401"/>
              <a:gd name="connsiteX184" fmla="*/ 1216422 w 4810408"/>
              <a:gd name="connsiteY184" fmla="*/ 3218516 h 4810401"/>
              <a:gd name="connsiteX185" fmla="*/ 1216422 w 4810408"/>
              <a:gd name="connsiteY185" fmla="*/ 3228500 h 4810401"/>
              <a:gd name="connsiteX186" fmla="*/ 1211394 w 4810408"/>
              <a:gd name="connsiteY186" fmla="*/ 3238483 h 4810401"/>
              <a:gd name="connsiteX187" fmla="*/ 1211394 w 4810408"/>
              <a:gd name="connsiteY187" fmla="*/ 3248467 h 4810401"/>
              <a:gd name="connsiteX188" fmla="*/ 1211394 w 4810408"/>
              <a:gd name="connsiteY188" fmla="*/ 3253460 h 4810401"/>
              <a:gd name="connsiteX189" fmla="*/ 1211394 w 4810408"/>
              <a:gd name="connsiteY189" fmla="*/ 3258450 h 4810401"/>
              <a:gd name="connsiteX190" fmla="*/ 957551 w 4810408"/>
              <a:gd name="connsiteY190" fmla="*/ 3438159 h 4810401"/>
              <a:gd name="connsiteX191" fmla="*/ 950012 w 4810408"/>
              <a:gd name="connsiteY191" fmla="*/ 3438159 h 4810401"/>
              <a:gd name="connsiteX192" fmla="*/ 939959 w 4810408"/>
              <a:gd name="connsiteY192" fmla="*/ 3438159 h 4810401"/>
              <a:gd name="connsiteX193" fmla="*/ 919853 w 4810408"/>
              <a:gd name="connsiteY193" fmla="*/ 3438159 h 4810401"/>
              <a:gd name="connsiteX194" fmla="*/ 904775 w 4810408"/>
              <a:gd name="connsiteY194" fmla="*/ 3438159 h 4810401"/>
              <a:gd name="connsiteX195" fmla="*/ 892208 w 4810408"/>
              <a:gd name="connsiteY195" fmla="*/ 3433169 h 4810401"/>
              <a:gd name="connsiteX196" fmla="*/ 882155 w 4810408"/>
              <a:gd name="connsiteY196" fmla="*/ 3433169 h 4810401"/>
              <a:gd name="connsiteX197" fmla="*/ 872101 w 4810408"/>
              <a:gd name="connsiteY197" fmla="*/ 3428175 h 4810401"/>
              <a:gd name="connsiteX198" fmla="*/ 862048 w 4810408"/>
              <a:gd name="connsiteY198" fmla="*/ 3423185 h 4810401"/>
              <a:gd name="connsiteX199" fmla="*/ 849481 w 4810408"/>
              <a:gd name="connsiteY199" fmla="*/ 3418192 h 4810401"/>
              <a:gd name="connsiteX200" fmla="*/ 844456 w 4810408"/>
              <a:gd name="connsiteY200" fmla="*/ 3413198 h 4810401"/>
              <a:gd name="connsiteX201" fmla="*/ 834403 w 4810408"/>
              <a:gd name="connsiteY201" fmla="*/ 3403215 h 4810401"/>
              <a:gd name="connsiteX202" fmla="*/ 829375 w 4810408"/>
              <a:gd name="connsiteY202" fmla="*/ 3395730 h 4810401"/>
              <a:gd name="connsiteX203" fmla="*/ 819322 w 4810408"/>
              <a:gd name="connsiteY203" fmla="*/ 3380753 h 4810401"/>
              <a:gd name="connsiteX204" fmla="*/ 814297 w 4810408"/>
              <a:gd name="connsiteY204" fmla="*/ 3370770 h 4810401"/>
              <a:gd name="connsiteX205" fmla="*/ 814297 w 4810408"/>
              <a:gd name="connsiteY205" fmla="*/ 3360786 h 4810401"/>
              <a:gd name="connsiteX206" fmla="*/ 809269 w 4810408"/>
              <a:gd name="connsiteY206" fmla="*/ 3348304 h 4810401"/>
              <a:gd name="connsiteX207" fmla="*/ 809269 w 4810408"/>
              <a:gd name="connsiteY207" fmla="*/ 3338321 h 4810401"/>
              <a:gd name="connsiteX208" fmla="*/ 809269 w 4810408"/>
              <a:gd name="connsiteY208" fmla="*/ 3328337 h 4810401"/>
              <a:gd name="connsiteX209" fmla="*/ 809269 w 4810408"/>
              <a:gd name="connsiteY209" fmla="*/ 3313361 h 4810401"/>
              <a:gd name="connsiteX210" fmla="*/ 809269 w 4810408"/>
              <a:gd name="connsiteY210" fmla="*/ 3308371 h 4810401"/>
              <a:gd name="connsiteX211" fmla="*/ 809269 w 4810408"/>
              <a:gd name="connsiteY211" fmla="*/ 3290899 h 4810401"/>
              <a:gd name="connsiteX212" fmla="*/ 814297 w 4810408"/>
              <a:gd name="connsiteY212" fmla="*/ 3280915 h 4810401"/>
              <a:gd name="connsiteX213" fmla="*/ 814297 w 4810408"/>
              <a:gd name="connsiteY213" fmla="*/ 3265938 h 4810401"/>
              <a:gd name="connsiteX214" fmla="*/ 819322 w 4810408"/>
              <a:gd name="connsiteY214" fmla="*/ 3265938 h 4810401"/>
              <a:gd name="connsiteX215" fmla="*/ 650509 w 4810408"/>
              <a:gd name="connsiteY215" fmla="*/ 2294616 h 4810401"/>
              <a:gd name="connsiteX216" fmla="*/ 962954 w 4810408"/>
              <a:gd name="connsiteY216" fmla="*/ 2294616 h 4810401"/>
              <a:gd name="connsiteX217" fmla="*/ 967954 w 4810408"/>
              <a:gd name="connsiteY217" fmla="*/ 2294616 h 4810401"/>
              <a:gd name="connsiteX218" fmla="*/ 982950 w 4810408"/>
              <a:gd name="connsiteY218" fmla="*/ 2309362 h 4810401"/>
              <a:gd name="connsiteX219" fmla="*/ 992949 w 4810408"/>
              <a:gd name="connsiteY219" fmla="*/ 2314276 h 4810401"/>
              <a:gd name="connsiteX220" fmla="*/ 1000447 w 4810408"/>
              <a:gd name="connsiteY220" fmla="*/ 2324108 h 4810401"/>
              <a:gd name="connsiteX221" fmla="*/ 1005446 w 4810408"/>
              <a:gd name="connsiteY221" fmla="*/ 2333936 h 4810401"/>
              <a:gd name="connsiteX222" fmla="*/ 1020445 w 4810408"/>
              <a:gd name="connsiteY222" fmla="*/ 2351139 h 4810401"/>
              <a:gd name="connsiteX223" fmla="*/ 1020445 w 4810408"/>
              <a:gd name="connsiteY223" fmla="*/ 2365881 h 4810401"/>
              <a:gd name="connsiteX224" fmla="*/ 1030442 w 4810408"/>
              <a:gd name="connsiteY224" fmla="*/ 2380627 h 4810401"/>
              <a:gd name="connsiteX225" fmla="*/ 1025442 w 4810408"/>
              <a:gd name="connsiteY225" fmla="*/ 2397829 h 4810401"/>
              <a:gd name="connsiteX226" fmla="*/ 1025442 w 4810408"/>
              <a:gd name="connsiteY226" fmla="*/ 2417489 h 4810401"/>
              <a:gd name="connsiteX227" fmla="*/ 1020445 w 4810408"/>
              <a:gd name="connsiteY227" fmla="*/ 2427318 h 4810401"/>
              <a:gd name="connsiteX228" fmla="*/ 1020445 w 4810408"/>
              <a:gd name="connsiteY228" fmla="*/ 2437149 h 4810401"/>
              <a:gd name="connsiteX229" fmla="*/ 1015446 w 4810408"/>
              <a:gd name="connsiteY229" fmla="*/ 2444520 h 4810401"/>
              <a:gd name="connsiteX230" fmla="*/ 1005446 w 4810408"/>
              <a:gd name="connsiteY230" fmla="*/ 2459266 h 4810401"/>
              <a:gd name="connsiteX231" fmla="*/ 1000447 w 4810408"/>
              <a:gd name="connsiteY231" fmla="*/ 2469094 h 4810401"/>
              <a:gd name="connsiteX232" fmla="*/ 992949 w 4810408"/>
              <a:gd name="connsiteY232" fmla="*/ 2483840 h 4810401"/>
              <a:gd name="connsiteX233" fmla="*/ 982950 w 4810408"/>
              <a:gd name="connsiteY233" fmla="*/ 2496125 h 4810401"/>
              <a:gd name="connsiteX234" fmla="*/ 972953 w 4810408"/>
              <a:gd name="connsiteY234" fmla="*/ 2505957 h 4810401"/>
              <a:gd name="connsiteX235" fmla="*/ 650509 w 4810408"/>
              <a:gd name="connsiteY235" fmla="*/ 2515785 h 4810401"/>
              <a:gd name="connsiteX236" fmla="*/ 645510 w 4810408"/>
              <a:gd name="connsiteY236" fmla="*/ 2510871 h 4810401"/>
              <a:gd name="connsiteX237" fmla="*/ 635514 w 4810408"/>
              <a:gd name="connsiteY237" fmla="*/ 2505957 h 4810401"/>
              <a:gd name="connsiteX238" fmla="*/ 625514 w 4810408"/>
              <a:gd name="connsiteY238" fmla="*/ 2496125 h 4810401"/>
              <a:gd name="connsiteX239" fmla="*/ 613017 w 4810408"/>
              <a:gd name="connsiteY239" fmla="*/ 2486297 h 4810401"/>
              <a:gd name="connsiteX240" fmla="*/ 603018 w 4810408"/>
              <a:gd name="connsiteY240" fmla="*/ 2469094 h 4810401"/>
              <a:gd name="connsiteX241" fmla="*/ 588022 w 4810408"/>
              <a:gd name="connsiteY241" fmla="*/ 2449434 h 4810401"/>
              <a:gd name="connsiteX242" fmla="*/ 583022 w 4810408"/>
              <a:gd name="connsiteY242" fmla="*/ 2439606 h 4810401"/>
              <a:gd name="connsiteX243" fmla="*/ 578023 w 4810408"/>
              <a:gd name="connsiteY243" fmla="*/ 2432232 h 4810401"/>
              <a:gd name="connsiteX244" fmla="*/ 573023 w 4810408"/>
              <a:gd name="connsiteY244" fmla="*/ 2417489 h 4810401"/>
              <a:gd name="connsiteX245" fmla="*/ 573023 w 4810408"/>
              <a:gd name="connsiteY245" fmla="*/ 2407658 h 4810401"/>
              <a:gd name="connsiteX246" fmla="*/ 573023 w 4810408"/>
              <a:gd name="connsiteY246" fmla="*/ 2392915 h 4810401"/>
              <a:gd name="connsiteX247" fmla="*/ 573023 w 4810408"/>
              <a:gd name="connsiteY247" fmla="*/ 2380627 h 4810401"/>
              <a:gd name="connsiteX248" fmla="*/ 578023 w 4810408"/>
              <a:gd name="connsiteY248" fmla="*/ 2370798 h 4810401"/>
              <a:gd name="connsiteX249" fmla="*/ 583022 w 4810408"/>
              <a:gd name="connsiteY249" fmla="*/ 2360967 h 4810401"/>
              <a:gd name="connsiteX250" fmla="*/ 593021 w 4810408"/>
              <a:gd name="connsiteY250" fmla="*/ 2343764 h 4810401"/>
              <a:gd name="connsiteX251" fmla="*/ 613017 w 4810408"/>
              <a:gd name="connsiteY251" fmla="*/ 2324108 h 4810401"/>
              <a:gd name="connsiteX252" fmla="*/ 620515 w 4810408"/>
              <a:gd name="connsiteY252" fmla="*/ 2309362 h 4810401"/>
              <a:gd name="connsiteX253" fmla="*/ 640510 w 4810408"/>
              <a:gd name="connsiteY253" fmla="*/ 2299530 h 4810401"/>
              <a:gd name="connsiteX254" fmla="*/ 3918197 w 4810408"/>
              <a:gd name="connsiteY254" fmla="*/ 1397374 h 4810401"/>
              <a:gd name="connsiteX255" fmla="*/ 3923226 w 4810408"/>
              <a:gd name="connsiteY255" fmla="*/ 1397374 h 4810401"/>
              <a:gd name="connsiteX256" fmla="*/ 3930765 w 4810408"/>
              <a:gd name="connsiteY256" fmla="*/ 1397374 h 4810401"/>
              <a:gd name="connsiteX257" fmla="*/ 3935793 w 4810408"/>
              <a:gd name="connsiteY257" fmla="*/ 1397374 h 4810401"/>
              <a:gd name="connsiteX258" fmla="*/ 3945846 w 4810408"/>
              <a:gd name="connsiteY258" fmla="*/ 1397374 h 4810401"/>
              <a:gd name="connsiteX259" fmla="*/ 3955899 w 4810408"/>
              <a:gd name="connsiteY259" fmla="*/ 1397374 h 4810401"/>
              <a:gd name="connsiteX260" fmla="*/ 3970977 w 4810408"/>
              <a:gd name="connsiteY260" fmla="*/ 1397374 h 4810401"/>
              <a:gd name="connsiteX261" fmla="*/ 3978516 w 4810408"/>
              <a:gd name="connsiteY261" fmla="*/ 1397374 h 4810401"/>
              <a:gd name="connsiteX262" fmla="*/ 3988569 w 4810408"/>
              <a:gd name="connsiteY262" fmla="*/ 1402402 h 4810401"/>
              <a:gd name="connsiteX263" fmla="*/ 3998622 w 4810408"/>
              <a:gd name="connsiteY263" fmla="*/ 1402402 h 4810401"/>
              <a:gd name="connsiteX264" fmla="*/ 4013704 w 4810408"/>
              <a:gd name="connsiteY264" fmla="*/ 1412455 h 4810401"/>
              <a:gd name="connsiteX265" fmla="*/ 4023757 w 4810408"/>
              <a:gd name="connsiteY265" fmla="*/ 1417480 h 4810401"/>
              <a:gd name="connsiteX266" fmla="*/ 4031296 w 4810408"/>
              <a:gd name="connsiteY266" fmla="*/ 1422508 h 4810401"/>
              <a:gd name="connsiteX267" fmla="*/ 4036324 w 4810408"/>
              <a:gd name="connsiteY267" fmla="*/ 1435075 h 4810401"/>
              <a:gd name="connsiteX268" fmla="*/ 4046377 w 4810408"/>
              <a:gd name="connsiteY268" fmla="*/ 1445129 h 4810401"/>
              <a:gd name="connsiteX269" fmla="*/ 4056430 w 4810408"/>
              <a:gd name="connsiteY269" fmla="*/ 1465235 h 4810401"/>
              <a:gd name="connsiteX270" fmla="*/ 4066483 w 4810408"/>
              <a:gd name="connsiteY270" fmla="*/ 1482827 h 4810401"/>
              <a:gd name="connsiteX271" fmla="*/ 4066483 w 4810408"/>
              <a:gd name="connsiteY271" fmla="*/ 1497905 h 4810401"/>
              <a:gd name="connsiteX272" fmla="*/ 4066483 w 4810408"/>
              <a:gd name="connsiteY272" fmla="*/ 1507958 h 4810401"/>
              <a:gd name="connsiteX273" fmla="*/ 4066483 w 4810408"/>
              <a:gd name="connsiteY273" fmla="*/ 1518011 h 4810401"/>
              <a:gd name="connsiteX274" fmla="*/ 4071508 w 4810408"/>
              <a:gd name="connsiteY274" fmla="*/ 1525553 h 4810401"/>
              <a:gd name="connsiteX275" fmla="*/ 4066483 w 4810408"/>
              <a:gd name="connsiteY275" fmla="*/ 1545660 h 4810401"/>
              <a:gd name="connsiteX276" fmla="*/ 4061455 w 4810408"/>
              <a:gd name="connsiteY276" fmla="*/ 1555713 h 4810401"/>
              <a:gd name="connsiteX277" fmla="*/ 4056430 w 4810408"/>
              <a:gd name="connsiteY277" fmla="*/ 1568277 h 4810401"/>
              <a:gd name="connsiteX278" fmla="*/ 3792535 w 4810408"/>
              <a:gd name="connsiteY278" fmla="*/ 1764314 h 4810401"/>
              <a:gd name="connsiteX279" fmla="*/ 3774940 w 4810408"/>
              <a:gd name="connsiteY279" fmla="*/ 1761800 h 4810401"/>
              <a:gd name="connsiteX280" fmla="*/ 3759862 w 4810408"/>
              <a:gd name="connsiteY280" fmla="*/ 1756775 h 4810401"/>
              <a:gd name="connsiteX281" fmla="*/ 3744780 w 4810408"/>
              <a:gd name="connsiteY281" fmla="*/ 1751747 h 4810401"/>
              <a:gd name="connsiteX282" fmla="*/ 3732216 w 4810408"/>
              <a:gd name="connsiteY282" fmla="*/ 1751747 h 4810401"/>
              <a:gd name="connsiteX283" fmla="*/ 3722163 w 4810408"/>
              <a:gd name="connsiteY283" fmla="*/ 1741694 h 4810401"/>
              <a:gd name="connsiteX284" fmla="*/ 3712110 w 4810408"/>
              <a:gd name="connsiteY284" fmla="*/ 1736669 h 4810401"/>
              <a:gd name="connsiteX285" fmla="*/ 3697029 w 4810408"/>
              <a:gd name="connsiteY285" fmla="*/ 1731641 h 4810401"/>
              <a:gd name="connsiteX286" fmla="*/ 3692004 w 4810408"/>
              <a:gd name="connsiteY286" fmla="*/ 1726616 h 4810401"/>
              <a:gd name="connsiteX287" fmla="*/ 3679437 w 4810408"/>
              <a:gd name="connsiteY287" fmla="*/ 1714049 h 4810401"/>
              <a:gd name="connsiteX288" fmla="*/ 3669383 w 4810408"/>
              <a:gd name="connsiteY288" fmla="*/ 1698971 h 4810401"/>
              <a:gd name="connsiteX289" fmla="*/ 3659330 w 4810408"/>
              <a:gd name="connsiteY289" fmla="*/ 1683889 h 4810401"/>
              <a:gd name="connsiteX290" fmla="*/ 3659330 w 4810408"/>
              <a:gd name="connsiteY290" fmla="*/ 1668811 h 4810401"/>
              <a:gd name="connsiteX291" fmla="*/ 3654302 w 4810408"/>
              <a:gd name="connsiteY291" fmla="*/ 1651216 h 4810401"/>
              <a:gd name="connsiteX292" fmla="*/ 3654302 w 4810408"/>
              <a:gd name="connsiteY292" fmla="*/ 1641163 h 4810401"/>
              <a:gd name="connsiteX293" fmla="*/ 3659330 w 4810408"/>
              <a:gd name="connsiteY293" fmla="*/ 1626085 h 4810401"/>
              <a:gd name="connsiteX294" fmla="*/ 3659330 w 4810408"/>
              <a:gd name="connsiteY294" fmla="*/ 1616032 h 4810401"/>
              <a:gd name="connsiteX295" fmla="*/ 3659330 w 4810408"/>
              <a:gd name="connsiteY295" fmla="*/ 1603464 h 4810401"/>
              <a:gd name="connsiteX296" fmla="*/ 3664355 w 4810408"/>
              <a:gd name="connsiteY296" fmla="*/ 1598439 h 4810401"/>
              <a:gd name="connsiteX297" fmla="*/ 3664355 w 4810408"/>
              <a:gd name="connsiteY297" fmla="*/ 1593411 h 4810401"/>
              <a:gd name="connsiteX298" fmla="*/ 3669383 w 4810408"/>
              <a:gd name="connsiteY298" fmla="*/ 1593411 h 4810401"/>
              <a:gd name="connsiteX299" fmla="*/ 870113 w 4810408"/>
              <a:gd name="connsiteY299" fmla="*/ 1397374 h 4810401"/>
              <a:gd name="connsiteX300" fmla="*/ 885286 w 4810408"/>
              <a:gd name="connsiteY300" fmla="*/ 1397374 h 4810401"/>
              <a:gd name="connsiteX301" fmla="*/ 902986 w 4810408"/>
              <a:gd name="connsiteY301" fmla="*/ 1397374 h 4810401"/>
              <a:gd name="connsiteX302" fmla="*/ 918159 w 4810408"/>
              <a:gd name="connsiteY302" fmla="*/ 1397374 h 4810401"/>
              <a:gd name="connsiteX303" fmla="*/ 933332 w 4810408"/>
              <a:gd name="connsiteY303" fmla="*/ 1397374 h 4810401"/>
              <a:gd name="connsiteX304" fmla="*/ 938389 w 4810408"/>
              <a:gd name="connsiteY304" fmla="*/ 1397374 h 4810401"/>
              <a:gd name="connsiteX305" fmla="*/ 1193789 w 4810408"/>
              <a:gd name="connsiteY305" fmla="*/ 1593411 h 4810401"/>
              <a:gd name="connsiteX306" fmla="*/ 1193789 w 4810408"/>
              <a:gd name="connsiteY306" fmla="*/ 1598439 h 4810401"/>
              <a:gd name="connsiteX307" fmla="*/ 1193789 w 4810408"/>
              <a:gd name="connsiteY307" fmla="*/ 1603464 h 4810401"/>
              <a:gd name="connsiteX308" fmla="*/ 1196315 w 4810408"/>
              <a:gd name="connsiteY308" fmla="*/ 1616032 h 4810401"/>
              <a:gd name="connsiteX309" fmla="*/ 1196315 w 4810408"/>
              <a:gd name="connsiteY309" fmla="*/ 1626085 h 4810401"/>
              <a:gd name="connsiteX310" fmla="*/ 1196315 w 4810408"/>
              <a:gd name="connsiteY310" fmla="*/ 1641163 h 4810401"/>
              <a:gd name="connsiteX311" fmla="*/ 1196315 w 4810408"/>
              <a:gd name="connsiteY311" fmla="*/ 1651216 h 4810401"/>
              <a:gd name="connsiteX312" fmla="*/ 1196315 w 4810408"/>
              <a:gd name="connsiteY312" fmla="*/ 1668811 h 4810401"/>
              <a:gd name="connsiteX313" fmla="*/ 1193789 w 4810408"/>
              <a:gd name="connsiteY313" fmla="*/ 1683889 h 4810401"/>
              <a:gd name="connsiteX314" fmla="*/ 1183672 w 4810408"/>
              <a:gd name="connsiteY314" fmla="*/ 1698971 h 4810401"/>
              <a:gd name="connsiteX315" fmla="*/ 1173559 w 4810408"/>
              <a:gd name="connsiteY315" fmla="*/ 1714049 h 4810401"/>
              <a:gd name="connsiteX316" fmla="*/ 1163443 w 4810408"/>
              <a:gd name="connsiteY316" fmla="*/ 1726616 h 4810401"/>
              <a:gd name="connsiteX317" fmla="*/ 1153329 w 4810408"/>
              <a:gd name="connsiteY317" fmla="*/ 1731641 h 4810401"/>
              <a:gd name="connsiteX318" fmla="*/ 1140686 w 4810408"/>
              <a:gd name="connsiteY318" fmla="*/ 1736669 h 4810401"/>
              <a:gd name="connsiteX319" fmla="*/ 1130570 w 4810408"/>
              <a:gd name="connsiteY319" fmla="*/ 1741694 h 4810401"/>
              <a:gd name="connsiteX320" fmla="*/ 1120456 w 4810408"/>
              <a:gd name="connsiteY320" fmla="*/ 1751747 h 4810401"/>
              <a:gd name="connsiteX321" fmla="*/ 1105283 w 4810408"/>
              <a:gd name="connsiteY321" fmla="*/ 1751747 h 4810401"/>
              <a:gd name="connsiteX322" fmla="*/ 1092640 w 4810408"/>
              <a:gd name="connsiteY322" fmla="*/ 1756775 h 4810401"/>
              <a:gd name="connsiteX323" fmla="*/ 1077467 w 4810408"/>
              <a:gd name="connsiteY323" fmla="*/ 1761800 h 4810401"/>
              <a:gd name="connsiteX324" fmla="*/ 1062294 w 4810408"/>
              <a:gd name="connsiteY324" fmla="*/ 1764314 h 4810401"/>
              <a:gd name="connsiteX325" fmla="*/ 799311 w 4810408"/>
              <a:gd name="connsiteY325" fmla="*/ 1568277 h 4810401"/>
              <a:gd name="connsiteX326" fmla="*/ 794254 w 4810408"/>
              <a:gd name="connsiteY326" fmla="*/ 1568277 h 4810401"/>
              <a:gd name="connsiteX327" fmla="*/ 789194 w 4810408"/>
              <a:gd name="connsiteY327" fmla="*/ 1555713 h 4810401"/>
              <a:gd name="connsiteX328" fmla="*/ 789194 w 4810408"/>
              <a:gd name="connsiteY328" fmla="*/ 1545660 h 4810401"/>
              <a:gd name="connsiteX329" fmla="*/ 789194 w 4810408"/>
              <a:gd name="connsiteY329" fmla="*/ 1525553 h 4810401"/>
              <a:gd name="connsiteX330" fmla="*/ 784137 w 4810408"/>
              <a:gd name="connsiteY330" fmla="*/ 1518011 h 4810401"/>
              <a:gd name="connsiteX331" fmla="*/ 784137 w 4810408"/>
              <a:gd name="connsiteY331" fmla="*/ 1507958 h 4810401"/>
              <a:gd name="connsiteX332" fmla="*/ 784137 w 4810408"/>
              <a:gd name="connsiteY332" fmla="*/ 1497905 h 4810401"/>
              <a:gd name="connsiteX333" fmla="*/ 789194 w 4810408"/>
              <a:gd name="connsiteY333" fmla="*/ 1482827 h 4810401"/>
              <a:gd name="connsiteX334" fmla="*/ 794254 w 4810408"/>
              <a:gd name="connsiteY334" fmla="*/ 1465235 h 4810401"/>
              <a:gd name="connsiteX335" fmla="*/ 801840 w 4810408"/>
              <a:gd name="connsiteY335" fmla="*/ 1445129 h 4810401"/>
              <a:gd name="connsiteX336" fmla="*/ 811954 w 4810408"/>
              <a:gd name="connsiteY336" fmla="*/ 1435075 h 4810401"/>
              <a:gd name="connsiteX337" fmla="*/ 817010 w 4810408"/>
              <a:gd name="connsiteY337" fmla="*/ 1422508 h 4810401"/>
              <a:gd name="connsiteX338" fmla="*/ 827127 w 4810408"/>
              <a:gd name="connsiteY338" fmla="*/ 1417480 h 4810401"/>
              <a:gd name="connsiteX339" fmla="*/ 837240 w 4810408"/>
              <a:gd name="connsiteY339" fmla="*/ 1412455 h 4810401"/>
              <a:gd name="connsiteX340" fmla="*/ 847357 w 4810408"/>
              <a:gd name="connsiteY340" fmla="*/ 1402402 h 4810401"/>
              <a:gd name="connsiteX341" fmla="*/ 860000 w 4810408"/>
              <a:gd name="connsiteY341" fmla="*/ 1402402 h 4810401"/>
              <a:gd name="connsiteX342" fmla="*/ 3001594 w 4810408"/>
              <a:gd name="connsiteY342" fmla="*/ 1380233 h 4810401"/>
              <a:gd name="connsiteX343" fmla="*/ 3051309 w 4810408"/>
              <a:gd name="connsiteY343" fmla="*/ 1399530 h 4810401"/>
              <a:gd name="connsiteX344" fmla="*/ 3092000 w 4810408"/>
              <a:gd name="connsiteY344" fmla="*/ 1585043 h 4810401"/>
              <a:gd name="connsiteX345" fmla="*/ 2675803 w 4810408"/>
              <a:gd name="connsiteY345" fmla="*/ 2235120 h 4810401"/>
              <a:gd name="connsiteX346" fmla="*/ 2702736 w 4810408"/>
              <a:gd name="connsiteY346" fmla="*/ 2279511 h 4810401"/>
              <a:gd name="connsiteX347" fmla="*/ 2705100 w 4810408"/>
              <a:gd name="connsiteY347" fmla="*/ 2287126 h 4810401"/>
              <a:gd name="connsiteX348" fmla="*/ 4182142 w 4810408"/>
              <a:gd name="connsiteY348" fmla="*/ 2287126 h 4810401"/>
              <a:gd name="connsiteX349" fmla="*/ 4219241 w 4810408"/>
              <a:gd name="connsiteY349" fmla="*/ 2294616 h 4810401"/>
              <a:gd name="connsiteX350" fmla="*/ 4232729 w 4810408"/>
              <a:gd name="connsiteY350" fmla="*/ 2294616 h 4810401"/>
              <a:gd name="connsiteX351" fmla="*/ 4237729 w 4810408"/>
              <a:gd name="connsiteY351" fmla="*/ 2294616 h 4810401"/>
              <a:gd name="connsiteX352" fmla="*/ 4252725 w 4810408"/>
              <a:gd name="connsiteY352" fmla="*/ 2309362 h 4810401"/>
              <a:gd name="connsiteX353" fmla="*/ 4262724 w 4810408"/>
              <a:gd name="connsiteY353" fmla="*/ 2314276 h 4810401"/>
              <a:gd name="connsiteX354" fmla="*/ 4270222 w 4810408"/>
              <a:gd name="connsiteY354" fmla="*/ 2324108 h 4810401"/>
              <a:gd name="connsiteX355" fmla="*/ 4275221 w 4810408"/>
              <a:gd name="connsiteY355" fmla="*/ 2333936 h 4810401"/>
              <a:gd name="connsiteX356" fmla="*/ 4290220 w 4810408"/>
              <a:gd name="connsiteY356" fmla="*/ 2351139 h 4810401"/>
              <a:gd name="connsiteX357" fmla="*/ 4290220 w 4810408"/>
              <a:gd name="connsiteY357" fmla="*/ 2358176 h 4810401"/>
              <a:gd name="connsiteX358" fmla="*/ 4290938 w 4810408"/>
              <a:gd name="connsiteY358" fmla="*/ 2359241 h 4810401"/>
              <a:gd name="connsiteX359" fmla="*/ 4293152 w 4810408"/>
              <a:gd name="connsiteY359" fmla="*/ 2370206 h 4810401"/>
              <a:gd name="connsiteX360" fmla="*/ 4300217 w 4810408"/>
              <a:gd name="connsiteY360" fmla="*/ 2380627 h 4810401"/>
              <a:gd name="connsiteX361" fmla="*/ 4297290 w 4810408"/>
              <a:gd name="connsiteY361" fmla="*/ 2390700 h 4810401"/>
              <a:gd name="connsiteX362" fmla="*/ 4300217 w 4810408"/>
              <a:gd name="connsiteY362" fmla="*/ 2405201 h 4810401"/>
              <a:gd name="connsiteX363" fmla="*/ 4300216 w 4810408"/>
              <a:gd name="connsiteY363" fmla="*/ 2405201 h 4810401"/>
              <a:gd name="connsiteX364" fmla="*/ 4265633 w 4810408"/>
              <a:gd name="connsiteY364" fmla="*/ 2488693 h 4810401"/>
              <a:gd name="connsiteX365" fmla="*/ 4248618 w 4810408"/>
              <a:gd name="connsiteY365" fmla="*/ 2500164 h 4810401"/>
              <a:gd name="connsiteX366" fmla="*/ 4242728 w 4810408"/>
              <a:gd name="connsiteY366" fmla="*/ 2505957 h 4810401"/>
              <a:gd name="connsiteX367" fmla="*/ 4239898 w 4810408"/>
              <a:gd name="connsiteY367" fmla="*/ 2506043 h 4810401"/>
              <a:gd name="connsiteX368" fmla="*/ 4228101 w 4810408"/>
              <a:gd name="connsiteY368" fmla="*/ 2513997 h 4810401"/>
              <a:gd name="connsiteX369" fmla="*/ 4182141 w 4810408"/>
              <a:gd name="connsiteY369" fmla="*/ 2523276 h 4810401"/>
              <a:gd name="connsiteX370" fmla="*/ 2705099 w 4810408"/>
              <a:gd name="connsiteY370" fmla="*/ 2523275 h 4810401"/>
              <a:gd name="connsiteX371" fmla="*/ 2702736 w 4810408"/>
              <a:gd name="connsiteY371" fmla="*/ 2530890 h 4810401"/>
              <a:gd name="connsiteX372" fmla="*/ 2405204 w 4810408"/>
              <a:gd name="connsiteY372" fmla="*/ 2728106 h 4810401"/>
              <a:gd name="connsiteX373" fmla="*/ 2362260 w 4810408"/>
              <a:gd name="connsiteY373" fmla="*/ 2724857 h 4810401"/>
              <a:gd name="connsiteX374" fmla="*/ 2288654 w 4810408"/>
              <a:gd name="connsiteY374" fmla="*/ 2839825 h 4810401"/>
              <a:gd name="connsiteX375" fmla="*/ 2103141 w 4810408"/>
              <a:gd name="connsiteY375" fmla="*/ 2880516 h 4810401"/>
              <a:gd name="connsiteX376" fmla="*/ 2062450 w 4810408"/>
              <a:gd name="connsiteY376" fmla="*/ 2695003 h 4810401"/>
              <a:gd name="connsiteX377" fmla="*/ 2136792 w 4810408"/>
              <a:gd name="connsiteY377" fmla="*/ 2578885 h 4810401"/>
              <a:gd name="connsiteX378" fmla="*/ 2107673 w 4810408"/>
              <a:gd name="connsiteY378" fmla="*/ 2530890 h 4810401"/>
              <a:gd name="connsiteX379" fmla="*/ 2105309 w 4810408"/>
              <a:gd name="connsiteY379" fmla="*/ 2523275 h 4810401"/>
              <a:gd name="connsiteX380" fmla="*/ 1997498 w 4810408"/>
              <a:gd name="connsiteY380" fmla="*/ 2523275 h 4810401"/>
              <a:gd name="connsiteX381" fmla="*/ 1888702 w 4810408"/>
              <a:gd name="connsiteY381" fmla="*/ 2451160 h 4810401"/>
              <a:gd name="connsiteX382" fmla="*/ 1879423 w 4810408"/>
              <a:gd name="connsiteY382" fmla="*/ 2405201 h 4810401"/>
              <a:gd name="connsiteX383" fmla="*/ 1888702 w 4810408"/>
              <a:gd name="connsiteY383" fmla="*/ 2359241 h 4810401"/>
              <a:gd name="connsiteX384" fmla="*/ 1997498 w 4810408"/>
              <a:gd name="connsiteY384" fmla="*/ 2287126 h 4810401"/>
              <a:gd name="connsiteX385" fmla="*/ 2105309 w 4810408"/>
              <a:gd name="connsiteY385" fmla="*/ 2287126 h 4810401"/>
              <a:gd name="connsiteX386" fmla="*/ 2107673 w 4810408"/>
              <a:gd name="connsiteY386" fmla="*/ 2279511 h 4810401"/>
              <a:gd name="connsiteX387" fmla="*/ 2405204 w 4810408"/>
              <a:gd name="connsiteY387" fmla="*/ 2082294 h 4810401"/>
              <a:gd name="connsiteX388" fmla="*/ 2452436 w 4810408"/>
              <a:gd name="connsiteY388" fmla="*/ 2085868 h 4810401"/>
              <a:gd name="connsiteX389" fmla="*/ 2865796 w 4810408"/>
              <a:gd name="connsiteY389" fmla="*/ 1440221 h 4810401"/>
              <a:gd name="connsiteX390" fmla="*/ 3001594 w 4810408"/>
              <a:gd name="connsiteY390" fmla="*/ 1380233 h 4810401"/>
              <a:gd name="connsiteX391" fmla="*/ 3280793 w 4810408"/>
              <a:gd name="connsiteY391" fmla="*/ 764029 h 4810401"/>
              <a:gd name="connsiteX392" fmla="*/ 3293271 w 4810408"/>
              <a:gd name="connsiteY392" fmla="*/ 764029 h 4810401"/>
              <a:gd name="connsiteX393" fmla="*/ 3303255 w 4810408"/>
              <a:gd name="connsiteY393" fmla="*/ 764029 h 4810401"/>
              <a:gd name="connsiteX394" fmla="*/ 3318228 w 4810408"/>
              <a:gd name="connsiteY394" fmla="*/ 764029 h 4810401"/>
              <a:gd name="connsiteX395" fmla="*/ 3328212 w 4810408"/>
              <a:gd name="connsiteY395" fmla="*/ 764029 h 4810401"/>
              <a:gd name="connsiteX396" fmla="*/ 3338195 w 4810408"/>
              <a:gd name="connsiteY396" fmla="*/ 769086 h 4810401"/>
              <a:gd name="connsiteX397" fmla="*/ 3345680 w 4810408"/>
              <a:gd name="connsiteY397" fmla="*/ 774142 h 4810401"/>
              <a:gd name="connsiteX398" fmla="*/ 3360657 w 4810408"/>
              <a:gd name="connsiteY398" fmla="*/ 784256 h 4810401"/>
              <a:gd name="connsiteX399" fmla="*/ 3375631 w 4810408"/>
              <a:gd name="connsiteY399" fmla="*/ 796899 h 4810401"/>
              <a:gd name="connsiteX400" fmla="*/ 3390604 w 4810408"/>
              <a:gd name="connsiteY400" fmla="*/ 817125 h 4810401"/>
              <a:gd name="connsiteX401" fmla="*/ 3398093 w 4810408"/>
              <a:gd name="connsiteY401" fmla="*/ 837352 h 4810401"/>
              <a:gd name="connsiteX402" fmla="*/ 3408073 w 4810408"/>
              <a:gd name="connsiteY402" fmla="*/ 855049 h 4810401"/>
              <a:gd name="connsiteX403" fmla="*/ 3408073 w 4810408"/>
              <a:gd name="connsiteY403" fmla="*/ 870219 h 4810401"/>
              <a:gd name="connsiteX404" fmla="*/ 3413066 w 4810408"/>
              <a:gd name="connsiteY404" fmla="*/ 885388 h 4810401"/>
              <a:gd name="connsiteX405" fmla="*/ 3413066 w 4810408"/>
              <a:gd name="connsiteY405" fmla="*/ 892975 h 4810401"/>
              <a:gd name="connsiteX406" fmla="*/ 3418056 w 4810408"/>
              <a:gd name="connsiteY406" fmla="*/ 898032 h 4810401"/>
              <a:gd name="connsiteX407" fmla="*/ 3245852 w 4810408"/>
              <a:gd name="connsiteY407" fmla="*/ 1181203 h 4810401"/>
              <a:gd name="connsiteX408" fmla="*/ 3228383 w 4810408"/>
              <a:gd name="connsiteY408" fmla="*/ 1181203 h 4810401"/>
              <a:gd name="connsiteX409" fmla="*/ 3213410 w 4810408"/>
              <a:gd name="connsiteY409" fmla="*/ 1186259 h 4810401"/>
              <a:gd name="connsiteX410" fmla="*/ 3195938 w 4810408"/>
              <a:gd name="connsiteY410" fmla="*/ 1186259 h 4810401"/>
              <a:gd name="connsiteX411" fmla="*/ 3185954 w 4810408"/>
              <a:gd name="connsiteY411" fmla="*/ 1186259 h 4810401"/>
              <a:gd name="connsiteX412" fmla="*/ 3170981 w 4810408"/>
              <a:gd name="connsiteY412" fmla="*/ 1186259 h 4810401"/>
              <a:gd name="connsiteX413" fmla="*/ 3160997 w 4810408"/>
              <a:gd name="connsiteY413" fmla="*/ 1181203 h 4810401"/>
              <a:gd name="connsiteX414" fmla="*/ 3148519 w 4810408"/>
              <a:gd name="connsiteY414" fmla="*/ 1181203 h 4810401"/>
              <a:gd name="connsiteX415" fmla="*/ 3138538 w 4810408"/>
              <a:gd name="connsiteY415" fmla="*/ 1181203 h 4810401"/>
              <a:gd name="connsiteX416" fmla="*/ 3118572 w 4810408"/>
              <a:gd name="connsiteY416" fmla="*/ 1173619 h 4810401"/>
              <a:gd name="connsiteX417" fmla="*/ 3103598 w 4810408"/>
              <a:gd name="connsiteY417" fmla="*/ 1163506 h 4810401"/>
              <a:gd name="connsiteX418" fmla="*/ 3096110 w 4810408"/>
              <a:gd name="connsiteY418" fmla="*/ 1153393 h 4810401"/>
              <a:gd name="connsiteX419" fmla="*/ 3086126 w 4810408"/>
              <a:gd name="connsiteY419" fmla="*/ 1138223 h 4810401"/>
              <a:gd name="connsiteX420" fmla="*/ 3076143 w 4810408"/>
              <a:gd name="connsiteY420" fmla="*/ 1125580 h 4810401"/>
              <a:gd name="connsiteX421" fmla="*/ 3071152 w 4810408"/>
              <a:gd name="connsiteY421" fmla="*/ 1110410 h 4810401"/>
              <a:gd name="connsiteX422" fmla="*/ 3066162 w 4810408"/>
              <a:gd name="connsiteY422" fmla="*/ 1100296 h 4810401"/>
              <a:gd name="connsiteX423" fmla="*/ 3066162 w 4810408"/>
              <a:gd name="connsiteY423" fmla="*/ 1085126 h 4810401"/>
              <a:gd name="connsiteX424" fmla="*/ 3061169 w 4810408"/>
              <a:gd name="connsiteY424" fmla="*/ 1072484 h 4810401"/>
              <a:gd name="connsiteX425" fmla="*/ 3066162 w 4810408"/>
              <a:gd name="connsiteY425" fmla="*/ 1062371 h 4810401"/>
              <a:gd name="connsiteX426" fmla="*/ 3223390 w 4810408"/>
              <a:gd name="connsiteY426" fmla="*/ 791842 h 4810401"/>
              <a:gd name="connsiteX427" fmla="*/ 3228383 w 4810408"/>
              <a:gd name="connsiteY427" fmla="*/ 789312 h 4810401"/>
              <a:gd name="connsiteX428" fmla="*/ 3238367 w 4810408"/>
              <a:gd name="connsiteY428" fmla="*/ 784256 h 4810401"/>
              <a:gd name="connsiteX429" fmla="*/ 3243357 w 4810408"/>
              <a:gd name="connsiteY429" fmla="*/ 779199 h 4810401"/>
              <a:gd name="connsiteX430" fmla="*/ 3250845 w 4810408"/>
              <a:gd name="connsiteY430" fmla="*/ 774142 h 4810401"/>
              <a:gd name="connsiteX431" fmla="*/ 3260826 w 4810408"/>
              <a:gd name="connsiteY431" fmla="*/ 769086 h 4810401"/>
              <a:gd name="connsiteX432" fmla="*/ 3270809 w 4810408"/>
              <a:gd name="connsiteY432" fmla="*/ 769086 h 4810401"/>
              <a:gd name="connsiteX433" fmla="*/ 1529950 w 4810408"/>
              <a:gd name="connsiteY433" fmla="*/ 764029 h 4810401"/>
              <a:gd name="connsiteX434" fmla="*/ 1542426 w 4810408"/>
              <a:gd name="connsiteY434" fmla="*/ 764029 h 4810401"/>
              <a:gd name="connsiteX435" fmla="*/ 1552406 w 4810408"/>
              <a:gd name="connsiteY435" fmla="*/ 764029 h 4810401"/>
              <a:gd name="connsiteX436" fmla="*/ 1562386 w 4810408"/>
              <a:gd name="connsiteY436" fmla="*/ 764029 h 4810401"/>
              <a:gd name="connsiteX437" fmla="*/ 1577360 w 4810408"/>
              <a:gd name="connsiteY437" fmla="*/ 764029 h 4810401"/>
              <a:gd name="connsiteX438" fmla="*/ 1587340 w 4810408"/>
              <a:gd name="connsiteY438" fmla="*/ 769086 h 4810401"/>
              <a:gd name="connsiteX439" fmla="*/ 1604806 w 4810408"/>
              <a:gd name="connsiteY439" fmla="*/ 774142 h 4810401"/>
              <a:gd name="connsiteX440" fmla="*/ 1619776 w 4810408"/>
              <a:gd name="connsiteY440" fmla="*/ 784256 h 4810401"/>
              <a:gd name="connsiteX441" fmla="*/ 1629756 w 4810408"/>
              <a:gd name="connsiteY441" fmla="*/ 789312 h 4810401"/>
              <a:gd name="connsiteX442" fmla="*/ 1637245 w 4810408"/>
              <a:gd name="connsiteY442" fmla="*/ 791842 h 4810401"/>
              <a:gd name="connsiteX443" fmla="*/ 1789451 w 4810408"/>
              <a:gd name="connsiteY443" fmla="*/ 1062371 h 4810401"/>
              <a:gd name="connsiteX444" fmla="*/ 1789451 w 4810408"/>
              <a:gd name="connsiteY444" fmla="*/ 1072484 h 4810401"/>
              <a:gd name="connsiteX445" fmla="*/ 1789451 w 4810408"/>
              <a:gd name="connsiteY445" fmla="*/ 1085126 h 4810401"/>
              <a:gd name="connsiteX446" fmla="*/ 1784460 w 4810408"/>
              <a:gd name="connsiteY446" fmla="*/ 1100296 h 4810401"/>
              <a:gd name="connsiteX447" fmla="*/ 1781965 w 4810408"/>
              <a:gd name="connsiteY447" fmla="*/ 1110410 h 4810401"/>
              <a:gd name="connsiteX448" fmla="*/ 1776975 w 4810408"/>
              <a:gd name="connsiteY448" fmla="*/ 1125580 h 4810401"/>
              <a:gd name="connsiteX449" fmla="*/ 1771985 w 4810408"/>
              <a:gd name="connsiteY449" fmla="*/ 1138223 h 4810401"/>
              <a:gd name="connsiteX450" fmla="*/ 1757015 w 4810408"/>
              <a:gd name="connsiteY450" fmla="*/ 1153393 h 4810401"/>
              <a:gd name="connsiteX451" fmla="*/ 1747034 w 4810408"/>
              <a:gd name="connsiteY451" fmla="*/ 1163506 h 4810401"/>
              <a:gd name="connsiteX452" fmla="*/ 1729566 w 4810408"/>
              <a:gd name="connsiteY452" fmla="*/ 1173619 h 4810401"/>
              <a:gd name="connsiteX453" fmla="*/ 1714595 w 4810408"/>
              <a:gd name="connsiteY453" fmla="*/ 1181203 h 4810401"/>
              <a:gd name="connsiteX454" fmla="*/ 1704615 w 4810408"/>
              <a:gd name="connsiteY454" fmla="*/ 1181203 h 4810401"/>
              <a:gd name="connsiteX455" fmla="*/ 1689645 w 4810408"/>
              <a:gd name="connsiteY455" fmla="*/ 1181203 h 4810401"/>
              <a:gd name="connsiteX456" fmla="*/ 1677166 w 4810408"/>
              <a:gd name="connsiteY456" fmla="*/ 1186259 h 4810401"/>
              <a:gd name="connsiteX457" fmla="*/ 1667186 w 4810408"/>
              <a:gd name="connsiteY457" fmla="*/ 1186259 h 4810401"/>
              <a:gd name="connsiteX458" fmla="*/ 1652215 w 4810408"/>
              <a:gd name="connsiteY458" fmla="*/ 1186259 h 4810401"/>
              <a:gd name="connsiteX459" fmla="*/ 1637245 w 4810408"/>
              <a:gd name="connsiteY459" fmla="*/ 1186259 h 4810401"/>
              <a:gd name="connsiteX460" fmla="*/ 1624766 w 4810408"/>
              <a:gd name="connsiteY460" fmla="*/ 1181203 h 4810401"/>
              <a:gd name="connsiteX461" fmla="*/ 1604806 w 4810408"/>
              <a:gd name="connsiteY461" fmla="*/ 1181203 h 4810401"/>
              <a:gd name="connsiteX462" fmla="*/ 1442616 w 4810408"/>
              <a:gd name="connsiteY462" fmla="*/ 898032 h 4810401"/>
              <a:gd name="connsiteX463" fmla="*/ 1442616 w 4810408"/>
              <a:gd name="connsiteY463" fmla="*/ 892975 h 4810401"/>
              <a:gd name="connsiteX464" fmla="*/ 1442616 w 4810408"/>
              <a:gd name="connsiteY464" fmla="*/ 885389 h 4810401"/>
              <a:gd name="connsiteX465" fmla="*/ 1442616 w 4810408"/>
              <a:gd name="connsiteY465" fmla="*/ 870219 h 4810401"/>
              <a:gd name="connsiteX466" fmla="*/ 1447606 w 4810408"/>
              <a:gd name="connsiteY466" fmla="*/ 855049 h 4810401"/>
              <a:gd name="connsiteX467" fmla="*/ 1452597 w 4810408"/>
              <a:gd name="connsiteY467" fmla="*/ 837352 h 4810401"/>
              <a:gd name="connsiteX468" fmla="*/ 1462580 w 4810408"/>
              <a:gd name="connsiteY468" fmla="*/ 817125 h 4810401"/>
              <a:gd name="connsiteX469" fmla="*/ 1477551 w 4810408"/>
              <a:gd name="connsiteY469" fmla="*/ 796899 h 4810401"/>
              <a:gd name="connsiteX470" fmla="*/ 1495016 w 4810408"/>
              <a:gd name="connsiteY470" fmla="*/ 784256 h 4810401"/>
              <a:gd name="connsiteX471" fmla="*/ 1504996 w 4810408"/>
              <a:gd name="connsiteY471" fmla="*/ 774142 h 4810401"/>
              <a:gd name="connsiteX472" fmla="*/ 1519970 w 4810408"/>
              <a:gd name="connsiteY472" fmla="*/ 769086 h 4810401"/>
              <a:gd name="connsiteX473" fmla="*/ 2372531 w 4810408"/>
              <a:gd name="connsiteY473" fmla="*/ 517730 h 4810401"/>
              <a:gd name="connsiteX474" fmla="*/ 2387609 w 4810408"/>
              <a:gd name="connsiteY474" fmla="*/ 517730 h 4810401"/>
              <a:gd name="connsiteX475" fmla="*/ 2402690 w 4810408"/>
              <a:gd name="connsiteY475" fmla="*/ 522730 h 4810401"/>
              <a:gd name="connsiteX476" fmla="*/ 2412743 w 4810408"/>
              <a:gd name="connsiteY476" fmla="*/ 522730 h 4810401"/>
              <a:gd name="connsiteX477" fmla="*/ 2420282 w 4810408"/>
              <a:gd name="connsiteY477" fmla="*/ 522730 h 4810401"/>
              <a:gd name="connsiteX478" fmla="*/ 2435360 w 4810408"/>
              <a:gd name="connsiteY478" fmla="*/ 527729 h 4810401"/>
              <a:gd name="connsiteX479" fmla="*/ 2445413 w 4810408"/>
              <a:gd name="connsiteY479" fmla="*/ 532729 h 4810401"/>
              <a:gd name="connsiteX480" fmla="*/ 2460495 w 4810408"/>
              <a:gd name="connsiteY480" fmla="*/ 547725 h 4810401"/>
              <a:gd name="connsiteX481" fmla="*/ 2478087 w 4810408"/>
              <a:gd name="connsiteY481" fmla="*/ 560222 h 4810401"/>
              <a:gd name="connsiteX482" fmla="*/ 2488140 w 4810408"/>
              <a:gd name="connsiteY482" fmla="*/ 570222 h 4810401"/>
              <a:gd name="connsiteX483" fmla="*/ 2498193 w 4810408"/>
              <a:gd name="connsiteY483" fmla="*/ 585217 h 4810401"/>
              <a:gd name="connsiteX484" fmla="*/ 2508246 w 4810408"/>
              <a:gd name="connsiteY484" fmla="*/ 590217 h 4810401"/>
              <a:gd name="connsiteX485" fmla="*/ 2508246 w 4810408"/>
              <a:gd name="connsiteY485" fmla="*/ 595217 h 4810401"/>
              <a:gd name="connsiteX486" fmla="*/ 2508246 w 4810408"/>
              <a:gd name="connsiteY486" fmla="*/ 917661 h 4810401"/>
              <a:gd name="connsiteX487" fmla="*/ 2488140 w 4810408"/>
              <a:gd name="connsiteY487" fmla="*/ 927657 h 4810401"/>
              <a:gd name="connsiteX488" fmla="*/ 2478087 w 4810408"/>
              <a:gd name="connsiteY488" fmla="*/ 937656 h 4810401"/>
              <a:gd name="connsiteX489" fmla="*/ 2465520 w 4810408"/>
              <a:gd name="connsiteY489" fmla="*/ 945153 h 4810401"/>
              <a:gd name="connsiteX490" fmla="*/ 2455467 w 4810408"/>
              <a:gd name="connsiteY490" fmla="*/ 955153 h 4810401"/>
              <a:gd name="connsiteX491" fmla="*/ 2440388 w 4810408"/>
              <a:gd name="connsiteY491" fmla="*/ 960153 h 4810401"/>
              <a:gd name="connsiteX492" fmla="*/ 2430335 w 4810408"/>
              <a:gd name="connsiteY492" fmla="*/ 965149 h 4810401"/>
              <a:gd name="connsiteX493" fmla="*/ 2420282 w 4810408"/>
              <a:gd name="connsiteY493" fmla="*/ 970148 h 4810401"/>
              <a:gd name="connsiteX494" fmla="*/ 2412743 w 4810408"/>
              <a:gd name="connsiteY494" fmla="*/ 975148 h 4810401"/>
              <a:gd name="connsiteX495" fmla="*/ 2387609 w 4810408"/>
              <a:gd name="connsiteY495" fmla="*/ 975148 h 4810401"/>
              <a:gd name="connsiteX496" fmla="*/ 2372531 w 4810408"/>
              <a:gd name="connsiteY496" fmla="*/ 975148 h 4810401"/>
              <a:gd name="connsiteX497" fmla="*/ 2354935 w 4810408"/>
              <a:gd name="connsiteY497" fmla="*/ 965149 h 4810401"/>
              <a:gd name="connsiteX498" fmla="*/ 2344882 w 4810408"/>
              <a:gd name="connsiteY498" fmla="*/ 965149 h 4810401"/>
              <a:gd name="connsiteX499" fmla="*/ 2324776 w 4810408"/>
              <a:gd name="connsiteY499" fmla="*/ 955153 h 4810401"/>
              <a:gd name="connsiteX500" fmla="*/ 2317237 w 4810408"/>
              <a:gd name="connsiteY500" fmla="*/ 945153 h 4810401"/>
              <a:gd name="connsiteX501" fmla="*/ 2307184 w 4810408"/>
              <a:gd name="connsiteY501" fmla="*/ 937656 h 4810401"/>
              <a:gd name="connsiteX502" fmla="*/ 2302159 w 4810408"/>
              <a:gd name="connsiteY502" fmla="*/ 927657 h 4810401"/>
              <a:gd name="connsiteX503" fmla="*/ 2287078 w 4810408"/>
              <a:gd name="connsiteY503" fmla="*/ 912660 h 4810401"/>
              <a:gd name="connsiteX504" fmla="*/ 2287078 w 4810408"/>
              <a:gd name="connsiteY504" fmla="*/ 907660 h 4810401"/>
              <a:gd name="connsiteX505" fmla="*/ 2287078 w 4810408"/>
              <a:gd name="connsiteY505" fmla="*/ 600216 h 4810401"/>
              <a:gd name="connsiteX506" fmla="*/ 2287078 w 4810408"/>
              <a:gd name="connsiteY506" fmla="*/ 595217 h 4810401"/>
              <a:gd name="connsiteX507" fmla="*/ 2292106 w 4810408"/>
              <a:gd name="connsiteY507" fmla="*/ 585217 h 4810401"/>
              <a:gd name="connsiteX508" fmla="*/ 2302159 w 4810408"/>
              <a:gd name="connsiteY508" fmla="*/ 570222 h 4810401"/>
              <a:gd name="connsiteX509" fmla="*/ 2317237 w 4810408"/>
              <a:gd name="connsiteY509" fmla="*/ 555223 h 4810401"/>
              <a:gd name="connsiteX510" fmla="*/ 2334829 w 4810408"/>
              <a:gd name="connsiteY510" fmla="*/ 537725 h 4810401"/>
              <a:gd name="connsiteX511" fmla="*/ 2354935 w 4810408"/>
              <a:gd name="connsiteY511" fmla="*/ 527729 h 4810401"/>
              <a:gd name="connsiteX512" fmla="*/ 2364988 w 4810408"/>
              <a:gd name="connsiteY512" fmla="*/ 522730 h 4810401"/>
              <a:gd name="connsiteX513" fmla="*/ 2405204 w 4810408"/>
              <a:gd name="connsiteY513" fmla="*/ 310321 h 4810401"/>
              <a:gd name="connsiteX514" fmla="*/ 310320 w 4810408"/>
              <a:gd name="connsiteY514" fmla="*/ 2405200 h 4810401"/>
              <a:gd name="connsiteX515" fmla="*/ 2405204 w 4810408"/>
              <a:gd name="connsiteY515" fmla="*/ 4500081 h 4810401"/>
              <a:gd name="connsiteX516" fmla="*/ 4500088 w 4810408"/>
              <a:gd name="connsiteY516" fmla="*/ 2405200 h 4810401"/>
              <a:gd name="connsiteX517" fmla="*/ 2405204 w 4810408"/>
              <a:gd name="connsiteY517" fmla="*/ 310321 h 4810401"/>
              <a:gd name="connsiteX518" fmla="*/ 2405204 w 4810408"/>
              <a:gd name="connsiteY518" fmla="*/ 0 h 4810401"/>
              <a:gd name="connsiteX519" fmla="*/ 4810408 w 4810408"/>
              <a:gd name="connsiteY519" fmla="*/ 2405200 h 4810401"/>
              <a:gd name="connsiteX520" fmla="*/ 2405204 w 4810408"/>
              <a:gd name="connsiteY520" fmla="*/ 4810401 h 4810401"/>
              <a:gd name="connsiteX521" fmla="*/ 0 w 4810408"/>
              <a:gd name="connsiteY521" fmla="*/ 2405200 h 4810401"/>
              <a:gd name="connsiteX522" fmla="*/ 2405204 w 4810408"/>
              <a:gd name="connsiteY522" fmla="*/ 0 h 481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</a:cxnLst>
            <a:rect l="l" t="t" r="r" b="b"/>
            <a:pathLst>
              <a:path w="4810408" h="4810401">
                <a:moveTo>
                  <a:pt x="2373437" y="3900602"/>
                </a:moveTo>
                <a:lnTo>
                  <a:pt x="2383604" y="3900602"/>
                </a:lnTo>
                <a:lnTo>
                  <a:pt x="2398853" y="3900602"/>
                </a:lnTo>
                <a:lnTo>
                  <a:pt x="2414103" y="3900602"/>
                </a:lnTo>
                <a:lnTo>
                  <a:pt x="2421727" y="3900602"/>
                </a:lnTo>
                <a:lnTo>
                  <a:pt x="2436976" y="3905602"/>
                </a:lnTo>
                <a:lnTo>
                  <a:pt x="2447140" y="3910602"/>
                </a:lnTo>
                <a:lnTo>
                  <a:pt x="2457307" y="3915598"/>
                </a:lnTo>
                <a:lnTo>
                  <a:pt x="2475099" y="3925597"/>
                </a:lnTo>
                <a:lnTo>
                  <a:pt x="2490348" y="3940593"/>
                </a:lnTo>
                <a:lnTo>
                  <a:pt x="2500515" y="3948091"/>
                </a:lnTo>
                <a:lnTo>
                  <a:pt x="2510679" y="3958090"/>
                </a:lnTo>
                <a:lnTo>
                  <a:pt x="2515764" y="3968087"/>
                </a:lnTo>
                <a:lnTo>
                  <a:pt x="2518304" y="3973086"/>
                </a:lnTo>
                <a:lnTo>
                  <a:pt x="2515764" y="4295508"/>
                </a:lnTo>
                <a:lnTo>
                  <a:pt x="2500515" y="4305504"/>
                </a:lnTo>
                <a:lnTo>
                  <a:pt x="2490348" y="4315504"/>
                </a:lnTo>
                <a:lnTo>
                  <a:pt x="2475099" y="4325500"/>
                </a:lnTo>
                <a:lnTo>
                  <a:pt x="2467474" y="4332998"/>
                </a:lnTo>
                <a:lnTo>
                  <a:pt x="2452225" y="4337997"/>
                </a:lnTo>
                <a:lnTo>
                  <a:pt x="2442058" y="4342997"/>
                </a:lnTo>
                <a:lnTo>
                  <a:pt x="2431891" y="4347997"/>
                </a:lnTo>
                <a:lnTo>
                  <a:pt x="2421727" y="4352993"/>
                </a:lnTo>
                <a:lnTo>
                  <a:pt x="2398853" y="4352993"/>
                </a:lnTo>
                <a:lnTo>
                  <a:pt x="2383604" y="4352993"/>
                </a:lnTo>
                <a:lnTo>
                  <a:pt x="2365813" y="4347997"/>
                </a:lnTo>
                <a:lnTo>
                  <a:pt x="2355646" y="4342997"/>
                </a:lnTo>
                <a:lnTo>
                  <a:pt x="2335315" y="4332998"/>
                </a:lnTo>
                <a:lnTo>
                  <a:pt x="2325147" y="4328001"/>
                </a:lnTo>
                <a:lnTo>
                  <a:pt x="2312441" y="4320500"/>
                </a:lnTo>
                <a:lnTo>
                  <a:pt x="2307356" y="4310504"/>
                </a:lnTo>
                <a:lnTo>
                  <a:pt x="2297192" y="4295508"/>
                </a:lnTo>
                <a:lnTo>
                  <a:pt x="2292107" y="4290509"/>
                </a:lnTo>
                <a:lnTo>
                  <a:pt x="2292107" y="3973086"/>
                </a:lnTo>
                <a:lnTo>
                  <a:pt x="2302274" y="3963087"/>
                </a:lnTo>
                <a:lnTo>
                  <a:pt x="2312441" y="3943091"/>
                </a:lnTo>
                <a:lnTo>
                  <a:pt x="2325147" y="3935594"/>
                </a:lnTo>
                <a:lnTo>
                  <a:pt x="2340397" y="3915598"/>
                </a:lnTo>
                <a:lnTo>
                  <a:pt x="2365813" y="3905602"/>
                </a:lnTo>
                <a:close/>
                <a:moveTo>
                  <a:pt x="3151061" y="3659326"/>
                </a:moveTo>
                <a:lnTo>
                  <a:pt x="3166035" y="3659326"/>
                </a:lnTo>
                <a:lnTo>
                  <a:pt x="3176018" y="3659326"/>
                </a:lnTo>
                <a:lnTo>
                  <a:pt x="3190995" y="3659326"/>
                </a:lnTo>
                <a:lnTo>
                  <a:pt x="3198484" y="3659326"/>
                </a:lnTo>
                <a:lnTo>
                  <a:pt x="3218450" y="3659326"/>
                </a:lnTo>
                <a:lnTo>
                  <a:pt x="3233427" y="3659326"/>
                </a:lnTo>
                <a:lnTo>
                  <a:pt x="3250899" y="3669380"/>
                </a:lnTo>
                <a:lnTo>
                  <a:pt x="3428110" y="3950867"/>
                </a:lnTo>
                <a:lnTo>
                  <a:pt x="3423119" y="3950867"/>
                </a:lnTo>
                <a:lnTo>
                  <a:pt x="3423119" y="3960920"/>
                </a:lnTo>
                <a:lnTo>
                  <a:pt x="3423119" y="3970973"/>
                </a:lnTo>
                <a:lnTo>
                  <a:pt x="3418126" y="3988565"/>
                </a:lnTo>
                <a:lnTo>
                  <a:pt x="3408143" y="4008672"/>
                </a:lnTo>
                <a:lnTo>
                  <a:pt x="3403149" y="4028778"/>
                </a:lnTo>
                <a:lnTo>
                  <a:pt x="3390671" y="4041345"/>
                </a:lnTo>
                <a:lnTo>
                  <a:pt x="3370704" y="4066480"/>
                </a:lnTo>
                <a:lnTo>
                  <a:pt x="3360720" y="4066480"/>
                </a:lnTo>
                <a:lnTo>
                  <a:pt x="3345744" y="4076533"/>
                </a:lnTo>
                <a:lnTo>
                  <a:pt x="3338255" y="4076533"/>
                </a:lnTo>
                <a:lnTo>
                  <a:pt x="3328272" y="4081558"/>
                </a:lnTo>
                <a:lnTo>
                  <a:pt x="3313298" y="4081558"/>
                </a:lnTo>
                <a:lnTo>
                  <a:pt x="3303312" y="4081558"/>
                </a:lnTo>
                <a:lnTo>
                  <a:pt x="3290833" y="4076533"/>
                </a:lnTo>
                <a:lnTo>
                  <a:pt x="3280850" y="4076533"/>
                </a:lnTo>
                <a:lnTo>
                  <a:pt x="3260883" y="4066480"/>
                </a:lnTo>
                <a:lnTo>
                  <a:pt x="3245906" y="4061451"/>
                </a:lnTo>
                <a:lnTo>
                  <a:pt x="3238417" y="4056426"/>
                </a:lnTo>
                <a:lnTo>
                  <a:pt x="3233427" y="4056426"/>
                </a:lnTo>
                <a:lnTo>
                  <a:pt x="3071190" y="3790017"/>
                </a:lnTo>
                <a:lnTo>
                  <a:pt x="3066197" y="3784992"/>
                </a:lnTo>
                <a:lnTo>
                  <a:pt x="3066197" y="3779964"/>
                </a:lnTo>
                <a:lnTo>
                  <a:pt x="3066197" y="3769911"/>
                </a:lnTo>
                <a:lnTo>
                  <a:pt x="3071190" y="3759858"/>
                </a:lnTo>
                <a:lnTo>
                  <a:pt x="3071190" y="3744780"/>
                </a:lnTo>
                <a:lnTo>
                  <a:pt x="3076181" y="3737237"/>
                </a:lnTo>
                <a:lnTo>
                  <a:pt x="3081174" y="3722159"/>
                </a:lnTo>
                <a:lnTo>
                  <a:pt x="3091157" y="3712106"/>
                </a:lnTo>
                <a:lnTo>
                  <a:pt x="3098646" y="3697025"/>
                </a:lnTo>
                <a:lnTo>
                  <a:pt x="3108629" y="3684461"/>
                </a:lnTo>
                <a:lnTo>
                  <a:pt x="3123606" y="3674408"/>
                </a:lnTo>
                <a:lnTo>
                  <a:pt x="3143573" y="3664355"/>
                </a:lnTo>
                <a:close/>
                <a:moveTo>
                  <a:pt x="1637371" y="3659326"/>
                </a:moveTo>
                <a:lnTo>
                  <a:pt x="1657335" y="3659326"/>
                </a:lnTo>
                <a:lnTo>
                  <a:pt x="1667316" y="3659326"/>
                </a:lnTo>
                <a:lnTo>
                  <a:pt x="1684784" y="3659326"/>
                </a:lnTo>
                <a:lnTo>
                  <a:pt x="1694768" y="3659326"/>
                </a:lnTo>
                <a:lnTo>
                  <a:pt x="1709738" y="3659326"/>
                </a:lnTo>
                <a:lnTo>
                  <a:pt x="1719722" y="3659326"/>
                </a:lnTo>
                <a:lnTo>
                  <a:pt x="1729702" y="3664355"/>
                </a:lnTo>
                <a:lnTo>
                  <a:pt x="1747171" y="3674408"/>
                </a:lnTo>
                <a:lnTo>
                  <a:pt x="1762144" y="3684461"/>
                </a:lnTo>
                <a:lnTo>
                  <a:pt x="1777118" y="3697025"/>
                </a:lnTo>
                <a:lnTo>
                  <a:pt x="1784603" y="3712106"/>
                </a:lnTo>
                <a:lnTo>
                  <a:pt x="1789593" y="3722159"/>
                </a:lnTo>
                <a:lnTo>
                  <a:pt x="1799577" y="3737237"/>
                </a:lnTo>
                <a:lnTo>
                  <a:pt x="1799577" y="3744780"/>
                </a:lnTo>
                <a:lnTo>
                  <a:pt x="1804567" y="3759858"/>
                </a:lnTo>
                <a:lnTo>
                  <a:pt x="1804567" y="3769911"/>
                </a:lnTo>
                <a:lnTo>
                  <a:pt x="1804567" y="3779964"/>
                </a:lnTo>
                <a:lnTo>
                  <a:pt x="1804567" y="3784992"/>
                </a:lnTo>
                <a:lnTo>
                  <a:pt x="1809557" y="3790017"/>
                </a:lnTo>
                <a:lnTo>
                  <a:pt x="1642362" y="4056426"/>
                </a:lnTo>
                <a:lnTo>
                  <a:pt x="1637371" y="4056426"/>
                </a:lnTo>
                <a:lnTo>
                  <a:pt x="1629886" y="4061451"/>
                </a:lnTo>
                <a:lnTo>
                  <a:pt x="1614913" y="4066480"/>
                </a:lnTo>
                <a:lnTo>
                  <a:pt x="1594949" y="4076533"/>
                </a:lnTo>
                <a:lnTo>
                  <a:pt x="1587464" y="4076533"/>
                </a:lnTo>
                <a:lnTo>
                  <a:pt x="1572490" y="4081558"/>
                </a:lnTo>
                <a:lnTo>
                  <a:pt x="1562507" y="4081558"/>
                </a:lnTo>
                <a:lnTo>
                  <a:pt x="1552526" y="4081558"/>
                </a:lnTo>
                <a:lnTo>
                  <a:pt x="1540048" y="4076533"/>
                </a:lnTo>
                <a:lnTo>
                  <a:pt x="1530067" y="4076533"/>
                </a:lnTo>
                <a:lnTo>
                  <a:pt x="1520084" y="4066480"/>
                </a:lnTo>
                <a:lnTo>
                  <a:pt x="1510104" y="4066480"/>
                </a:lnTo>
                <a:lnTo>
                  <a:pt x="1490140" y="4041345"/>
                </a:lnTo>
                <a:lnTo>
                  <a:pt x="1477661" y="4028778"/>
                </a:lnTo>
                <a:lnTo>
                  <a:pt x="1467681" y="4008672"/>
                </a:lnTo>
                <a:lnTo>
                  <a:pt x="1462688" y="3988565"/>
                </a:lnTo>
                <a:lnTo>
                  <a:pt x="1457698" y="3970973"/>
                </a:lnTo>
                <a:lnTo>
                  <a:pt x="1457698" y="3960920"/>
                </a:lnTo>
                <a:lnTo>
                  <a:pt x="1457698" y="3950867"/>
                </a:lnTo>
                <a:lnTo>
                  <a:pt x="1624893" y="3669380"/>
                </a:lnTo>
                <a:close/>
                <a:moveTo>
                  <a:pt x="3774940" y="3076246"/>
                </a:moveTo>
                <a:lnTo>
                  <a:pt x="3792535" y="3076246"/>
                </a:lnTo>
                <a:lnTo>
                  <a:pt x="4056430" y="3265938"/>
                </a:lnTo>
                <a:lnTo>
                  <a:pt x="4061455" y="3280915"/>
                </a:lnTo>
                <a:lnTo>
                  <a:pt x="4066483" y="3290899"/>
                </a:lnTo>
                <a:lnTo>
                  <a:pt x="4071508" y="3308371"/>
                </a:lnTo>
                <a:lnTo>
                  <a:pt x="4071508" y="3313361"/>
                </a:lnTo>
                <a:lnTo>
                  <a:pt x="4071508" y="3328337"/>
                </a:lnTo>
                <a:lnTo>
                  <a:pt x="4071508" y="3338321"/>
                </a:lnTo>
                <a:lnTo>
                  <a:pt x="4071508" y="3348304"/>
                </a:lnTo>
                <a:lnTo>
                  <a:pt x="4066483" y="3360786"/>
                </a:lnTo>
                <a:lnTo>
                  <a:pt x="4061455" y="3370770"/>
                </a:lnTo>
                <a:lnTo>
                  <a:pt x="4056430" y="3380753"/>
                </a:lnTo>
                <a:lnTo>
                  <a:pt x="4056430" y="3395730"/>
                </a:lnTo>
                <a:lnTo>
                  <a:pt x="4046377" y="3403215"/>
                </a:lnTo>
                <a:lnTo>
                  <a:pt x="4036324" y="3413198"/>
                </a:lnTo>
                <a:lnTo>
                  <a:pt x="4026271" y="3418192"/>
                </a:lnTo>
                <a:lnTo>
                  <a:pt x="4018729" y="3423185"/>
                </a:lnTo>
                <a:lnTo>
                  <a:pt x="4008676" y="3428175"/>
                </a:lnTo>
                <a:lnTo>
                  <a:pt x="3998622" y="3433169"/>
                </a:lnTo>
                <a:lnTo>
                  <a:pt x="3983544" y="3433169"/>
                </a:lnTo>
                <a:lnTo>
                  <a:pt x="3976005" y="3438159"/>
                </a:lnTo>
                <a:lnTo>
                  <a:pt x="3965952" y="3438159"/>
                </a:lnTo>
                <a:lnTo>
                  <a:pt x="3950871" y="3438159"/>
                </a:lnTo>
                <a:lnTo>
                  <a:pt x="3940818" y="3438159"/>
                </a:lnTo>
                <a:lnTo>
                  <a:pt x="3935793" y="3438159"/>
                </a:lnTo>
                <a:lnTo>
                  <a:pt x="3928251" y="3438159"/>
                </a:lnTo>
                <a:lnTo>
                  <a:pt x="3923226" y="3438159"/>
                </a:lnTo>
                <a:lnTo>
                  <a:pt x="3669383" y="3258450"/>
                </a:lnTo>
                <a:lnTo>
                  <a:pt x="3664355" y="3253460"/>
                </a:lnTo>
                <a:lnTo>
                  <a:pt x="3664355" y="3248467"/>
                </a:lnTo>
                <a:lnTo>
                  <a:pt x="3659330" y="3238483"/>
                </a:lnTo>
                <a:lnTo>
                  <a:pt x="3659330" y="3228500"/>
                </a:lnTo>
                <a:lnTo>
                  <a:pt x="3654302" y="3218516"/>
                </a:lnTo>
                <a:lnTo>
                  <a:pt x="3654302" y="3206038"/>
                </a:lnTo>
                <a:lnTo>
                  <a:pt x="3654302" y="3191061"/>
                </a:lnTo>
                <a:lnTo>
                  <a:pt x="3659330" y="3176084"/>
                </a:lnTo>
                <a:lnTo>
                  <a:pt x="3659330" y="3158612"/>
                </a:lnTo>
                <a:lnTo>
                  <a:pt x="3669383" y="3143639"/>
                </a:lnTo>
                <a:lnTo>
                  <a:pt x="3679437" y="3128662"/>
                </a:lnTo>
                <a:lnTo>
                  <a:pt x="3692004" y="3116183"/>
                </a:lnTo>
                <a:lnTo>
                  <a:pt x="3697029" y="3111190"/>
                </a:lnTo>
                <a:lnTo>
                  <a:pt x="3712110" y="3106200"/>
                </a:lnTo>
                <a:lnTo>
                  <a:pt x="3722163" y="3096213"/>
                </a:lnTo>
                <a:lnTo>
                  <a:pt x="3732216" y="3091223"/>
                </a:lnTo>
                <a:lnTo>
                  <a:pt x="3744780" y="3086230"/>
                </a:lnTo>
                <a:lnTo>
                  <a:pt x="3759862" y="3081240"/>
                </a:lnTo>
                <a:close/>
                <a:moveTo>
                  <a:pt x="1083217" y="3076246"/>
                </a:moveTo>
                <a:lnTo>
                  <a:pt x="1098295" y="3076246"/>
                </a:lnTo>
                <a:lnTo>
                  <a:pt x="1110862" y="3081240"/>
                </a:lnTo>
                <a:lnTo>
                  <a:pt x="1125944" y="3086230"/>
                </a:lnTo>
                <a:lnTo>
                  <a:pt x="1141022" y="3091223"/>
                </a:lnTo>
                <a:lnTo>
                  <a:pt x="1153589" y="3096213"/>
                </a:lnTo>
                <a:lnTo>
                  <a:pt x="1163642" y="3106200"/>
                </a:lnTo>
                <a:lnTo>
                  <a:pt x="1173695" y="3111190"/>
                </a:lnTo>
                <a:lnTo>
                  <a:pt x="1183748" y="3116183"/>
                </a:lnTo>
                <a:lnTo>
                  <a:pt x="1193801" y="3128662"/>
                </a:lnTo>
                <a:lnTo>
                  <a:pt x="1206369" y="3143639"/>
                </a:lnTo>
                <a:lnTo>
                  <a:pt x="1211394" y="3158612"/>
                </a:lnTo>
                <a:lnTo>
                  <a:pt x="1216422" y="3176084"/>
                </a:lnTo>
                <a:lnTo>
                  <a:pt x="1216422" y="3191061"/>
                </a:lnTo>
                <a:lnTo>
                  <a:pt x="1221447" y="3206038"/>
                </a:lnTo>
                <a:lnTo>
                  <a:pt x="1216422" y="3218516"/>
                </a:lnTo>
                <a:lnTo>
                  <a:pt x="1216422" y="3228500"/>
                </a:lnTo>
                <a:lnTo>
                  <a:pt x="1211394" y="3238483"/>
                </a:lnTo>
                <a:lnTo>
                  <a:pt x="1211394" y="3248467"/>
                </a:lnTo>
                <a:lnTo>
                  <a:pt x="1211394" y="3253460"/>
                </a:lnTo>
                <a:lnTo>
                  <a:pt x="1211394" y="3258450"/>
                </a:lnTo>
                <a:lnTo>
                  <a:pt x="957551" y="3438159"/>
                </a:lnTo>
                <a:lnTo>
                  <a:pt x="950012" y="3438159"/>
                </a:lnTo>
                <a:lnTo>
                  <a:pt x="939959" y="3438159"/>
                </a:lnTo>
                <a:lnTo>
                  <a:pt x="919853" y="3438159"/>
                </a:lnTo>
                <a:lnTo>
                  <a:pt x="904775" y="3438159"/>
                </a:lnTo>
                <a:lnTo>
                  <a:pt x="892208" y="3433169"/>
                </a:lnTo>
                <a:lnTo>
                  <a:pt x="882155" y="3433169"/>
                </a:lnTo>
                <a:lnTo>
                  <a:pt x="872101" y="3428175"/>
                </a:lnTo>
                <a:lnTo>
                  <a:pt x="862048" y="3423185"/>
                </a:lnTo>
                <a:lnTo>
                  <a:pt x="849481" y="3418192"/>
                </a:lnTo>
                <a:lnTo>
                  <a:pt x="844456" y="3413198"/>
                </a:lnTo>
                <a:lnTo>
                  <a:pt x="834403" y="3403215"/>
                </a:lnTo>
                <a:lnTo>
                  <a:pt x="829375" y="3395730"/>
                </a:lnTo>
                <a:lnTo>
                  <a:pt x="819322" y="3380753"/>
                </a:lnTo>
                <a:lnTo>
                  <a:pt x="814297" y="3370770"/>
                </a:lnTo>
                <a:lnTo>
                  <a:pt x="814297" y="3360786"/>
                </a:lnTo>
                <a:lnTo>
                  <a:pt x="809269" y="3348304"/>
                </a:lnTo>
                <a:lnTo>
                  <a:pt x="809269" y="3338321"/>
                </a:lnTo>
                <a:lnTo>
                  <a:pt x="809269" y="3328337"/>
                </a:lnTo>
                <a:lnTo>
                  <a:pt x="809269" y="3313361"/>
                </a:lnTo>
                <a:lnTo>
                  <a:pt x="809269" y="3308371"/>
                </a:lnTo>
                <a:lnTo>
                  <a:pt x="809269" y="3290899"/>
                </a:lnTo>
                <a:lnTo>
                  <a:pt x="814297" y="3280915"/>
                </a:lnTo>
                <a:lnTo>
                  <a:pt x="814297" y="3265938"/>
                </a:lnTo>
                <a:lnTo>
                  <a:pt x="819322" y="3265938"/>
                </a:lnTo>
                <a:close/>
                <a:moveTo>
                  <a:pt x="650509" y="2294616"/>
                </a:moveTo>
                <a:lnTo>
                  <a:pt x="962954" y="2294616"/>
                </a:lnTo>
                <a:lnTo>
                  <a:pt x="967954" y="2294616"/>
                </a:lnTo>
                <a:lnTo>
                  <a:pt x="982950" y="2309362"/>
                </a:lnTo>
                <a:lnTo>
                  <a:pt x="992949" y="2314276"/>
                </a:lnTo>
                <a:lnTo>
                  <a:pt x="1000447" y="2324108"/>
                </a:lnTo>
                <a:lnTo>
                  <a:pt x="1005446" y="2333936"/>
                </a:lnTo>
                <a:lnTo>
                  <a:pt x="1020445" y="2351139"/>
                </a:lnTo>
                <a:lnTo>
                  <a:pt x="1020445" y="2365881"/>
                </a:lnTo>
                <a:lnTo>
                  <a:pt x="1030442" y="2380627"/>
                </a:lnTo>
                <a:lnTo>
                  <a:pt x="1025442" y="2397829"/>
                </a:lnTo>
                <a:lnTo>
                  <a:pt x="1025442" y="2417489"/>
                </a:lnTo>
                <a:lnTo>
                  <a:pt x="1020445" y="2427318"/>
                </a:lnTo>
                <a:lnTo>
                  <a:pt x="1020445" y="2437149"/>
                </a:lnTo>
                <a:lnTo>
                  <a:pt x="1015446" y="2444520"/>
                </a:lnTo>
                <a:lnTo>
                  <a:pt x="1005446" y="2459266"/>
                </a:lnTo>
                <a:lnTo>
                  <a:pt x="1000447" y="2469094"/>
                </a:lnTo>
                <a:lnTo>
                  <a:pt x="992949" y="2483840"/>
                </a:lnTo>
                <a:lnTo>
                  <a:pt x="982950" y="2496125"/>
                </a:lnTo>
                <a:lnTo>
                  <a:pt x="972953" y="2505957"/>
                </a:lnTo>
                <a:lnTo>
                  <a:pt x="650509" y="2515785"/>
                </a:lnTo>
                <a:lnTo>
                  <a:pt x="645510" y="2510871"/>
                </a:lnTo>
                <a:lnTo>
                  <a:pt x="635514" y="2505957"/>
                </a:lnTo>
                <a:lnTo>
                  <a:pt x="625514" y="2496125"/>
                </a:lnTo>
                <a:lnTo>
                  <a:pt x="613017" y="2486297"/>
                </a:lnTo>
                <a:lnTo>
                  <a:pt x="603018" y="2469094"/>
                </a:lnTo>
                <a:lnTo>
                  <a:pt x="588022" y="2449434"/>
                </a:lnTo>
                <a:lnTo>
                  <a:pt x="583022" y="2439606"/>
                </a:lnTo>
                <a:lnTo>
                  <a:pt x="578023" y="2432232"/>
                </a:lnTo>
                <a:lnTo>
                  <a:pt x="573023" y="2417489"/>
                </a:lnTo>
                <a:lnTo>
                  <a:pt x="573023" y="2407658"/>
                </a:lnTo>
                <a:lnTo>
                  <a:pt x="573023" y="2392915"/>
                </a:lnTo>
                <a:lnTo>
                  <a:pt x="573023" y="2380627"/>
                </a:lnTo>
                <a:lnTo>
                  <a:pt x="578023" y="2370798"/>
                </a:lnTo>
                <a:lnTo>
                  <a:pt x="583022" y="2360967"/>
                </a:lnTo>
                <a:lnTo>
                  <a:pt x="593021" y="2343764"/>
                </a:lnTo>
                <a:lnTo>
                  <a:pt x="613017" y="2324108"/>
                </a:lnTo>
                <a:lnTo>
                  <a:pt x="620515" y="2309362"/>
                </a:lnTo>
                <a:lnTo>
                  <a:pt x="640510" y="2299530"/>
                </a:lnTo>
                <a:close/>
                <a:moveTo>
                  <a:pt x="3918197" y="1397374"/>
                </a:moveTo>
                <a:lnTo>
                  <a:pt x="3923226" y="1397374"/>
                </a:lnTo>
                <a:lnTo>
                  <a:pt x="3930765" y="1397374"/>
                </a:lnTo>
                <a:lnTo>
                  <a:pt x="3935793" y="1397374"/>
                </a:lnTo>
                <a:lnTo>
                  <a:pt x="3945846" y="1397374"/>
                </a:lnTo>
                <a:lnTo>
                  <a:pt x="3955899" y="1397374"/>
                </a:lnTo>
                <a:lnTo>
                  <a:pt x="3970977" y="1397374"/>
                </a:lnTo>
                <a:lnTo>
                  <a:pt x="3978516" y="1397374"/>
                </a:lnTo>
                <a:lnTo>
                  <a:pt x="3988569" y="1402402"/>
                </a:lnTo>
                <a:lnTo>
                  <a:pt x="3998622" y="1402402"/>
                </a:lnTo>
                <a:lnTo>
                  <a:pt x="4013704" y="1412455"/>
                </a:lnTo>
                <a:lnTo>
                  <a:pt x="4023757" y="1417480"/>
                </a:lnTo>
                <a:lnTo>
                  <a:pt x="4031296" y="1422508"/>
                </a:lnTo>
                <a:lnTo>
                  <a:pt x="4036324" y="1435075"/>
                </a:lnTo>
                <a:lnTo>
                  <a:pt x="4046377" y="1445129"/>
                </a:lnTo>
                <a:lnTo>
                  <a:pt x="4056430" y="1465235"/>
                </a:lnTo>
                <a:lnTo>
                  <a:pt x="4066483" y="1482827"/>
                </a:lnTo>
                <a:lnTo>
                  <a:pt x="4066483" y="1497905"/>
                </a:lnTo>
                <a:lnTo>
                  <a:pt x="4066483" y="1507958"/>
                </a:lnTo>
                <a:lnTo>
                  <a:pt x="4066483" y="1518011"/>
                </a:lnTo>
                <a:lnTo>
                  <a:pt x="4071508" y="1525553"/>
                </a:lnTo>
                <a:lnTo>
                  <a:pt x="4066483" y="1545660"/>
                </a:lnTo>
                <a:lnTo>
                  <a:pt x="4061455" y="1555713"/>
                </a:lnTo>
                <a:lnTo>
                  <a:pt x="4056430" y="1568277"/>
                </a:lnTo>
                <a:lnTo>
                  <a:pt x="3792535" y="1764314"/>
                </a:lnTo>
                <a:lnTo>
                  <a:pt x="3774940" y="1761800"/>
                </a:lnTo>
                <a:lnTo>
                  <a:pt x="3759862" y="1756775"/>
                </a:lnTo>
                <a:lnTo>
                  <a:pt x="3744780" y="1751747"/>
                </a:lnTo>
                <a:lnTo>
                  <a:pt x="3732216" y="1751747"/>
                </a:lnTo>
                <a:lnTo>
                  <a:pt x="3722163" y="1741694"/>
                </a:lnTo>
                <a:lnTo>
                  <a:pt x="3712110" y="1736669"/>
                </a:lnTo>
                <a:lnTo>
                  <a:pt x="3697029" y="1731641"/>
                </a:lnTo>
                <a:lnTo>
                  <a:pt x="3692004" y="1726616"/>
                </a:lnTo>
                <a:lnTo>
                  <a:pt x="3679437" y="1714049"/>
                </a:lnTo>
                <a:lnTo>
                  <a:pt x="3669383" y="1698971"/>
                </a:lnTo>
                <a:lnTo>
                  <a:pt x="3659330" y="1683889"/>
                </a:lnTo>
                <a:lnTo>
                  <a:pt x="3659330" y="1668811"/>
                </a:lnTo>
                <a:lnTo>
                  <a:pt x="3654302" y="1651216"/>
                </a:lnTo>
                <a:lnTo>
                  <a:pt x="3654302" y="1641163"/>
                </a:lnTo>
                <a:lnTo>
                  <a:pt x="3659330" y="1626085"/>
                </a:lnTo>
                <a:lnTo>
                  <a:pt x="3659330" y="1616032"/>
                </a:lnTo>
                <a:lnTo>
                  <a:pt x="3659330" y="1603464"/>
                </a:lnTo>
                <a:lnTo>
                  <a:pt x="3664355" y="1598439"/>
                </a:lnTo>
                <a:lnTo>
                  <a:pt x="3664355" y="1593411"/>
                </a:lnTo>
                <a:lnTo>
                  <a:pt x="3669383" y="1593411"/>
                </a:lnTo>
                <a:close/>
                <a:moveTo>
                  <a:pt x="870113" y="1397374"/>
                </a:moveTo>
                <a:lnTo>
                  <a:pt x="885286" y="1397374"/>
                </a:lnTo>
                <a:lnTo>
                  <a:pt x="902986" y="1397374"/>
                </a:lnTo>
                <a:lnTo>
                  <a:pt x="918159" y="1397374"/>
                </a:lnTo>
                <a:lnTo>
                  <a:pt x="933332" y="1397374"/>
                </a:lnTo>
                <a:lnTo>
                  <a:pt x="938389" y="1397374"/>
                </a:lnTo>
                <a:lnTo>
                  <a:pt x="1193789" y="1593411"/>
                </a:lnTo>
                <a:lnTo>
                  <a:pt x="1193789" y="1598439"/>
                </a:lnTo>
                <a:lnTo>
                  <a:pt x="1193789" y="1603464"/>
                </a:lnTo>
                <a:lnTo>
                  <a:pt x="1196315" y="1616032"/>
                </a:lnTo>
                <a:lnTo>
                  <a:pt x="1196315" y="1626085"/>
                </a:lnTo>
                <a:lnTo>
                  <a:pt x="1196315" y="1641163"/>
                </a:lnTo>
                <a:lnTo>
                  <a:pt x="1196315" y="1651216"/>
                </a:lnTo>
                <a:lnTo>
                  <a:pt x="1196315" y="1668811"/>
                </a:lnTo>
                <a:lnTo>
                  <a:pt x="1193789" y="1683889"/>
                </a:lnTo>
                <a:lnTo>
                  <a:pt x="1183672" y="1698971"/>
                </a:lnTo>
                <a:lnTo>
                  <a:pt x="1173559" y="1714049"/>
                </a:lnTo>
                <a:lnTo>
                  <a:pt x="1163443" y="1726616"/>
                </a:lnTo>
                <a:lnTo>
                  <a:pt x="1153329" y="1731641"/>
                </a:lnTo>
                <a:lnTo>
                  <a:pt x="1140686" y="1736669"/>
                </a:lnTo>
                <a:lnTo>
                  <a:pt x="1130570" y="1741694"/>
                </a:lnTo>
                <a:lnTo>
                  <a:pt x="1120456" y="1751747"/>
                </a:lnTo>
                <a:lnTo>
                  <a:pt x="1105283" y="1751747"/>
                </a:lnTo>
                <a:lnTo>
                  <a:pt x="1092640" y="1756775"/>
                </a:lnTo>
                <a:lnTo>
                  <a:pt x="1077467" y="1761800"/>
                </a:lnTo>
                <a:lnTo>
                  <a:pt x="1062294" y="1764314"/>
                </a:lnTo>
                <a:lnTo>
                  <a:pt x="799311" y="1568277"/>
                </a:lnTo>
                <a:lnTo>
                  <a:pt x="794254" y="1568277"/>
                </a:lnTo>
                <a:lnTo>
                  <a:pt x="789194" y="1555713"/>
                </a:lnTo>
                <a:lnTo>
                  <a:pt x="789194" y="1545660"/>
                </a:lnTo>
                <a:lnTo>
                  <a:pt x="789194" y="1525553"/>
                </a:lnTo>
                <a:lnTo>
                  <a:pt x="784137" y="1518011"/>
                </a:lnTo>
                <a:lnTo>
                  <a:pt x="784137" y="1507958"/>
                </a:lnTo>
                <a:lnTo>
                  <a:pt x="784137" y="1497905"/>
                </a:lnTo>
                <a:lnTo>
                  <a:pt x="789194" y="1482827"/>
                </a:lnTo>
                <a:lnTo>
                  <a:pt x="794254" y="1465235"/>
                </a:lnTo>
                <a:lnTo>
                  <a:pt x="801840" y="1445129"/>
                </a:lnTo>
                <a:lnTo>
                  <a:pt x="811954" y="1435075"/>
                </a:lnTo>
                <a:lnTo>
                  <a:pt x="817010" y="1422508"/>
                </a:lnTo>
                <a:lnTo>
                  <a:pt x="827127" y="1417480"/>
                </a:lnTo>
                <a:lnTo>
                  <a:pt x="837240" y="1412455"/>
                </a:lnTo>
                <a:lnTo>
                  <a:pt x="847357" y="1402402"/>
                </a:lnTo>
                <a:lnTo>
                  <a:pt x="860000" y="1402402"/>
                </a:lnTo>
                <a:close/>
                <a:moveTo>
                  <a:pt x="3001594" y="1380233"/>
                </a:moveTo>
                <a:cubicBezTo>
                  <a:pt x="3018790" y="1383172"/>
                  <a:pt x="3035693" y="1389532"/>
                  <a:pt x="3051309" y="1399530"/>
                </a:cubicBezTo>
                <a:cubicBezTo>
                  <a:pt x="3113774" y="1439522"/>
                  <a:pt x="3131992" y="1522578"/>
                  <a:pt x="3092000" y="1585043"/>
                </a:cubicBezTo>
                <a:lnTo>
                  <a:pt x="2675803" y="2235120"/>
                </a:lnTo>
                <a:lnTo>
                  <a:pt x="2702736" y="2279511"/>
                </a:lnTo>
                <a:lnTo>
                  <a:pt x="2705100" y="2287126"/>
                </a:lnTo>
                <a:lnTo>
                  <a:pt x="4182142" y="2287126"/>
                </a:lnTo>
                <a:lnTo>
                  <a:pt x="4219241" y="2294616"/>
                </a:lnTo>
                <a:lnTo>
                  <a:pt x="4232729" y="2294616"/>
                </a:lnTo>
                <a:lnTo>
                  <a:pt x="4237729" y="2294616"/>
                </a:lnTo>
                <a:lnTo>
                  <a:pt x="4252725" y="2309362"/>
                </a:lnTo>
                <a:lnTo>
                  <a:pt x="4262724" y="2314276"/>
                </a:lnTo>
                <a:lnTo>
                  <a:pt x="4270222" y="2324108"/>
                </a:lnTo>
                <a:lnTo>
                  <a:pt x="4275221" y="2333936"/>
                </a:lnTo>
                <a:lnTo>
                  <a:pt x="4290220" y="2351139"/>
                </a:lnTo>
                <a:lnTo>
                  <a:pt x="4290220" y="2358176"/>
                </a:lnTo>
                <a:lnTo>
                  <a:pt x="4290938" y="2359241"/>
                </a:lnTo>
                <a:lnTo>
                  <a:pt x="4293152" y="2370206"/>
                </a:lnTo>
                <a:lnTo>
                  <a:pt x="4300217" y="2380627"/>
                </a:lnTo>
                <a:lnTo>
                  <a:pt x="4297290" y="2390700"/>
                </a:lnTo>
                <a:lnTo>
                  <a:pt x="4300217" y="2405201"/>
                </a:lnTo>
                <a:lnTo>
                  <a:pt x="4300216" y="2405201"/>
                </a:lnTo>
                <a:cubicBezTo>
                  <a:pt x="4300216" y="2437807"/>
                  <a:pt x="4287000" y="2467325"/>
                  <a:pt x="4265633" y="2488693"/>
                </a:cubicBezTo>
                <a:lnTo>
                  <a:pt x="4248618" y="2500164"/>
                </a:lnTo>
                <a:lnTo>
                  <a:pt x="4242728" y="2505957"/>
                </a:lnTo>
                <a:lnTo>
                  <a:pt x="4239898" y="2506043"/>
                </a:lnTo>
                <a:lnTo>
                  <a:pt x="4228101" y="2513997"/>
                </a:lnTo>
                <a:cubicBezTo>
                  <a:pt x="4213975" y="2519972"/>
                  <a:pt x="4198444" y="2523276"/>
                  <a:pt x="4182141" y="2523276"/>
                </a:cubicBezTo>
                <a:lnTo>
                  <a:pt x="2705099" y="2523275"/>
                </a:lnTo>
                <a:lnTo>
                  <a:pt x="2702736" y="2530890"/>
                </a:lnTo>
                <a:cubicBezTo>
                  <a:pt x="2653716" y="2646785"/>
                  <a:pt x="2538957" y="2728106"/>
                  <a:pt x="2405204" y="2728106"/>
                </a:cubicBezTo>
                <a:lnTo>
                  <a:pt x="2362260" y="2724857"/>
                </a:lnTo>
                <a:lnTo>
                  <a:pt x="2288654" y="2839825"/>
                </a:lnTo>
                <a:cubicBezTo>
                  <a:pt x="2248662" y="2902290"/>
                  <a:pt x="2165606" y="2920508"/>
                  <a:pt x="2103141" y="2880516"/>
                </a:cubicBezTo>
                <a:cubicBezTo>
                  <a:pt x="2040676" y="2840524"/>
                  <a:pt x="2022458" y="2757468"/>
                  <a:pt x="2062450" y="2695003"/>
                </a:cubicBezTo>
                <a:lnTo>
                  <a:pt x="2136792" y="2578885"/>
                </a:lnTo>
                <a:lnTo>
                  <a:pt x="2107673" y="2530890"/>
                </a:lnTo>
                <a:lnTo>
                  <a:pt x="2105309" y="2523275"/>
                </a:lnTo>
                <a:lnTo>
                  <a:pt x="1997498" y="2523275"/>
                </a:lnTo>
                <a:cubicBezTo>
                  <a:pt x="1948590" y="2523275"/>
                  <a:pt x="1906627" y="2493539"/>
                  <a:pt x="1888702" y="2451160"/>
                </a:cubicBezTo>
                <a:lnTo>
                  <a:pt x="1879423" y="2405201"/>
                </a:lnTo>
                <a:lnTo>
                  <a:pt x="1888702" y="2359241"/>
                </a:lnTo>
                <a:cubicBezTo>
                  <a:pt x="1906627" y="2316862"/>
                  <a:pt x="1948590" y="2287126"/>
                  <a:pt x="1997498" y="2287126"/>
                </a:cubicBezTo>
                <a:lnTo>
                  <a:pt x="2105309" y="2287126"/>
                </a:lnTo>
                <a:lnTo>
                  <a:pt x="2107673" y="2279511"/>
                </a:lnTo>
                <a:cubicBezTo>
                  <a:pt x="2156693" y="2163615"/>
                  <a:pt x="2271452" y="2082294"/>
                  <a:pt x="2405204" y="2082294"/>
                </a:cubicBezTo>
                <a:lnTo>
                  <a:pt x="2452436" y="2085868"/>
                </a:lnTo>
                <a:lnTo>
                  <a:pt x="2865796" y="1440221"/>
                </a:lnTo>
                <a:cubicBezTo>
                  <a:pt x="2895790" y="1393372"/>
                  <a:pt x="2950008" y="1371413"/>
                  <a:pt x="3001594" y="1380233"/>
                </a:cubicBezTo>
                <a:close/>
                <a:moveTo>
                  <a:pt x="3280793" y="764029"/>
                </a:moveTo>
                <a:lnTo>
                  <a:pt x="3293271" y="764029"/>
                </a:lnTo>
                <a:lnTo>
                  <a:pt x="3303255" y="764029"/>
                </a:lnTo>
                <a:lnTo>
                  <a:pt x="3318228" y="764029"/>
                </a:lnTo>
                <a:lnTo>
                  <a:pt x="3328212" y="764029"/>
                </a:lnTo>
                <a:lnTo>
                  <a:pt x="3338195" y="769086"/>
                </a:lnTo>
                <a:lnTo>
                  <a:pt x="3345680" y="774142"/>
                </a:lnTo>
                <a:lnTo>
                  <a:pt x="3360657" y="784256"/>
                </a:lnTo>
                <a:lnTo>
                  <a:pt x="3375631" y="796899"/>
                </a:lnTo>
                <a:lnTo>
                  <a:pt x="3390604" y="817125"/>
                </a:lnTo>
                <a:lnTo>
                  <a:pt x="3398093" y="837352"/>
                </a:lnTo>
                <a:lnTo>
                  <a:pt x="3408073" y="855049"/>
                </a:lnTo>
                <a:lnTo>
                  <a:pt x="3408073" y="870219"/>
                </a:lnTo>
                <a:lnTo>
                  <a:pt x="3413066" y="885388"/>
                </a:lnTo>
                <a:lnTo>
                  <a:pt x="3413066" y="892975"/>
                </a:lnTo>
                <a:lnTo>
                  <a:pt x="3418056" y="898032"/>
                </a:lnTo>
                <a:lnTo>
                  <a:pt x="3245852" y="1181203"/>
                </a:lnTo>
                <a:lnTo>
                  <a:pt x="3228383" y="1181203"/>
                </a:lnTo>
                <a:lnTo>
                  <a:pt x="3213410" y="1186259"/>
                </a:lnTo>
                <a:lnTo>
                  <a:pt x="3195938" y="1186259"/>
                </a:lnTo>
                <a:lnTo>
                  <a:pt x="3185954" y="1186259"/>
                </a:lnTo>
                <a:lnTo>
                  <a:pt x="3170981" y="1186259"/>
                </a:lnTo>
                <a:lnTo>
                  <a:pt x="3160997" y="1181203"/>
                </a:lnTo>
                <a:lnTo>
                  <a:pt x="3148519" y="1181203"/>
                </a:lnTo>
                <a:lnTo>
                  <a:pt x="3138538" y="1181203"/>
                </a:lnTo>
                <a:lnTo>
                  <a:pt x="3118572" y="1173619"/>
                </a:lnTo>
                <a:lnTo>
                  <a:pt x="3103598" y="1163506"/>
                </a:lnTo>
                <a:lnTo>
                  <a:pt x="3096110" y="1153393"/>
                </a:lnTo>
                <a:lnTo>
                  <a:pt x="3086126" y="1138223"/>
                </a:lnTo>
                <a:lnTo>
                  <a:pt x="3076143" y="1125580"/>
                </a:lnTo>
                <a:lnTo>
                  <a:pt x="3071152" y="1110410"/>
                </a:lnTo>
                <a:lnTo>
                  <a:pt x="3066162" y="1100296"/>
                </a:lnTo>
                <a:lnTo>
                  <a:pt x="3066162" y="1085126"/>
                </a:lnTo>
                <a:lnTo>
                  <a:pt x="3061169" y="1072484"/>
                </a:lnTo>
                <a:lnTo>
                  <a:pt x="3066162" y="1062371"/>
                </a:lnTo>
                <a:lnTo>
                  <a:pt x="3223390" y="791842"/>
                </a:lnTo>
                <a:lnTo>
                  <a:pt x="3228383" y="789312"/>
                </a:lnTo>
                <a:lnTo>
                  <a:pt x="3238367" y="784256"/>
                </a:lnTo>
                <a:lnTo>
                  <a:pt x="3243357" y="779199"/>
                </a:lnTo>
                <a:lnTo>
                  <a:pt x="3250845" y="774142"/>
                </a:lnTo>
                <a:lnTo>
                  <a:pt x="3260826" y="769086"/>
                </a:lnTo>
                <a:lnTo>
                  <a:pt x="3270809" y="769086"/>
                </a:lnTo>
                <a:close/>
                <a:moveTo>
                  <a:pt x="1529950" y="764029"/>
                </a:moveTo>
                <a:lnTo>
                  <a:pt x="1542426" y="764029"/>
                </a:lnTo>
                <a:lnTo>
                  <a:pt x="1552406" y="764029"/>
                </a:lnTo>
                <a:lnTo>
                  <a:pt x="1562386" y="764029"/>
                </a:lnTo>
                <a:lnTo>
                  <a:pt x="1577360" y="764029"/>
                </a:lnTo>
                <a:lnTo>
                  <a:pt x="1587340" y="769086"/>
                </a:lnTo>
                <a:lnTo>
                  <a:pt x="1604806" y="774142"/>
                </a:lnTo>
                <a:lnTo>
                  <a:pt x="1619776" y="784256"/>
                </a:lnTo>
                <a:lnTo>
                  <a:pt x="1629756" y="789312"/>
                </a:lnTo>
                <a:lnTo>
                  <a:pt x="1637245" y="791842"/>
                </a:lnTo>
                <a:lnTo>
                  <a:pt x="1789451" y="1062371"/>
                </a:lnTo>
                <a:lnTo>
                  <a:pt x="1789451" y="1072484"/>
                </a:lnTo>
                <a:lnTo>
                  <a:pt x="1789451" y="1085126"/>
                </a:lnTo>
                <a:lnTo>
                  <a:pt x="1784460" y="1100296"/>
                </a:lnTo>
                <a:lnTo>
                  <a:pt x="1781965" y="1110410"/>
                </a:lnTo>
                <a:lnTo>
                  <a:pt x="1776975" y="1125580"/>
                </a:lnTo>
                <a:lnTo>
                  <a:pt x="1771985" y="1138223"/>
                </a:lnTo>
                <a:lnTo>
                  <a:pt x="1757015" y="1153393"/>
                </a:lnTo>
                <a:lnTo>
                  <a:pt x="1747034" y="1163506"/>
                </a:lnTo>
                <a:lnTo>
                  <a:pt x="1729566" y="1173619"/>
                </a:lnTo>
                <a:lnTo>
                  <a:pt x="1714595" y="1181203"/>
                </a:lnTo>
                <a:lnTo>
                  <a:pt x="1704615" y="1181203"/>
                </a:lnTo>
                <a:lnTo>
                  <a:pt x="1689645" y="1181203"/>
                </a:lnTo>
                <a:lnTo>
                  <a:pt x="1677166" y="1186259"/>
                </a:lnTo>
                <a:lnTo>
                  <a:pt x="1667186" y="1186259"/>
                </a:lnTo>
                <a:lnTo>
                  <a:pt x="1652215" y="1186259"/>
                </a:lnTo>
                <a:lnTo>
                  <a:pt x="1637245" y="1186259"/>
                </a:lnTo>
                <a:lnTo>
                  <a:pt x="1624766" y="1181203"/>
                </a:lnTo>
                <a:lnTo>
                  <a:pt x="1604806" y="1181203"/>
                </a:lnTo>
                <a:lnTo>
                  <a:pt x="1442616" y="898032"/>
                </a:lnTo>
                <a:lnTo>
                  <a:pt x="1442616" y="892975"/>
                </a:lnTo>
                <a:lnTo>
                  <a:pt x="1442616" y="885389"/>
                </a:lnTo>
                <a:lnTo>
                  <a:pt x="1442616" y="870219"/>
                </a:lnTo>
                <a:lnTo>
                  <a:pt x="1447606" y="855049"/>
                </a:lnTo>
                <a:lnTo>
                  <a:pt x="1452597" y="837352"/>
                </a:lnTo>
                <a:lnTo>
                  <a:pt x="1462580" y="817125"/>
                </a:lnTo>
                <a:lnTo>
                  <a:pt x="1477551" y="796899"/>
                </a:lnTo>
                <a:lnTo>
                  <a:pt x="1495016" y="784256"/>
                </a:lnTo>
                <a:lnTo>
                  <a:pt x="1504996" y="774142"/>
                </a:lnTo>
                <a:lnTo>
                  <a:pt x="1519970" y="769086"/>
                </a:lnTo>
                <a:close/>
                <a:moveTo>
                  <a:pt x="2372531" y="517730"/>
                </a:moveTo>
                <a:lnTo>
                  <a:pt x="2387609" y="517730"/>
                </a:lnTo>
                <a:lnTo>
                  <a:pt x="2402690" y="522730"/>
                </a:lnTo>
                <a:lnTo>
                  <a:pt x="2412743" y="522730"/>
                </a:lnTo>
                <a:lnTo>
                  <a:pt x="2420282" y="522730"/>
                </a:lnTo>
                <a:lnTo>
                  <a:pt x="2435360" y="527729"/>
                </a:lnTo>
                <a:lnTo>
                  <a:pt x="2445413" y="532729"/>
                </a:lnTo>
                <a:lnTo>
                  <a:pt x="2460495" y="547725"/>
                </a:lnTo>
                <a:lnTo>
                  <a:pt x="2478087" y="560222"/>
                </a:lnTo>
                <a:lnTo>
                  <a:pt x="2488140" y="570222"/>
                </a:lnTo>
                <a:lnTo>
                  <a:pt x="2498193" y="585217"/>
                </a:lnTo>
                <a:lnTo>
                  <a:pt x="2508246" y="590217"/>
                </a:lnTo>
                <a:lnTo>
                  <a:pt x="2508246" y="595217"/>
                </a:lnTo>
                <a:lnTo>
                  <a:pt x="2508246" y="917661"/>
                </a:lnTo>
                <a:lnTo>
                  <a:pt x="2488140" y="927657"/>
                </a:lnTo>
                <a:lnTo>
                  <a:pt x="2478087" y="937656"/>
                </a:lnTo>
                <a:lnTo>
                  <a:pt x="2465520" y="945153"/>
                </a:lnTo>
                <a:lnTo>
                  <a:pt x="2455467" y="955153"/>
                </a:lnTo>
                <a:lnTo>
                  <a:pt x="2440388" y="960153"/>
                </a:lnTo>
                <a:lnTo>
                  <a:pt x="2430335" y="965149"/>
                </a:lnTo>
                <a:lnTo>
                  <a:pt x="2420282" y="970148"/>
                </a:lnTo>
                <a:lnTo>
                  <a:pt x="2412743" y="975148"/>
                </a:lnTo>
                <a:lnTo>
                  <a:pt x="2387609" y="975148"/>
                </a:lnTo>
                <a:lnTo>
                  <a:pt x="2372531" y="975148"/>
                </a:lnTo>
                <a:lnTo>
                  <a:pt x="2354935" y="965149"/>
                </a:lnTo>
                <a:lnTo>
                  <a:pt x="2344882" y="965149"/>
                </a:lnTo>
                <a:lnTo>
                  <a:pt x="2324776" y="955153"/>
                </a:lnTo>
                <a:lnTo>
                  <a:pt x="2317237" y="945153"/>
                </a:lnTo>
                <a:lnTo>
                  <a:pt x="2307184" y="937656"/>
                </a:lnTo>
                <a:lnTo>
                  <a:pt x="2302159" y="927657"/>
                </a:lnTo>
                <a:lnTo>
                  <a:pt x="2287078" y="912660"/>
                </a:lnTo>
                <a:lnTo>
                  <a:pt x="2287078" y="907660"/>
                </a:lnTo>
                <a:lnTo>
                  <a:pt x="2287078" y="600216"/>
                </a:lnTo>
                <a:lnTo>
                  <a:pt x="2287078" y="595217"/>
                </a:lnTo>
                <a:lnTo>
                  <a:pt x="2292106" y="585217"/>
                </a:lnTo>
                <a:lnTo>
                  <a:pt x="2302159" y="570222"/>
                </a:lnTo>
                <a:lnTo>
                  <a:pt x="2317237" y="555223"/>
                </a:lnTo>
                <a:lnTo>
                  <a:pt x="2334829" y="537725"/>
                </a:lnTo>
                <a:lnTo>
                  <a:pt x="2354935" y="527729"/>
                </a:lnTo>
                <a:lnTo>
                  <a:pt x="2364988" y="522730"/>
                </a:lnTo>
                <a:close/>
                <a:moveTo>
                  <a:pt x="2405204" y="310321"/>
                </a:moveTo>
                <a:cubicBezTo>
                  <a:pt x="1248231" y="310321"/>
                  <a:pt x="310320" y="1248230"/>
                  <a:pt x="310320" y="2405200"/>
                </a:cubicBezTo>
                <a:cubicBezTo>
                  <a:pt x="310320" y="3562171"/>
                  <a:pt x="1248231" y="4500081"/>
                  <a:pt x="2405204" y="4500081"/>
                </a:cubicBezTo>
                <a:cubicBezTo>
                  <a:pt x="3562178" y="4500081"/>
                  <a:pt x="4500088" y="3562171"/>
                  <a:pt x="4500088" y="2405200"/>
                </a:cubicBezTo>
                <a:cubicBezTo>
                  <a:pt x="4500088" y="1248230"/>
                  <a:pt x="3562178" y="310321"/>
                  <a:pt x="2405204" y="310321"/>
                </a:cubicBezTo>
                <a:close/>
                <a:moveTo>
                  <a:pt x="2405204" y="0"/>
                </a:moveTo>
                <a:cubicBezTo>
                  <a:pt x="3733562" y="0"/>
                  <a:pt x="4810408" y="1076845"/>
                  <a:pt x="4810408" y="2405200"/>
                </a:cubicBezTo>
                <a:cubicBezTo>
                  <a:pt x="4810408" y="3733555"/>
                  <a:pt x="3733562" y="4810401"/>
                  <a:pt x="2405204" y="4810401"/>
                </a:cubicBezTo>
                <a:cubicBezTo>
                  <a:pt x="1076846" y="4810401"/>
                  <a:pt x="0" y="3733555"/>
                  <a:pt x="0" y="2405200"/>
                </a:cubicBezTo>
                <a:cubicBezTo>
                  <a:pt x="0" y="1076845"/>
                  <a:pt x="1076846" y="0"/>
                  <a:pt x="24052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3604993" y="1729296"/>
            <a:ext cx="446783" cy="446783"/>
            <a:chOff x="7468013" y="1931193"/>
            <a:chExt cx="446783" cy="446783"/>
          </a:xfrm>
          <a:effectLst/>
        </p:grpSpPr>
        <p:sp>
          <p:nvSpPr>
            <p:cNvPr id="13" name="Freeform 71"/>
            <p:cNvSpPr/>
            <p:nvPr/>
          </p:nvSpPr>
          <p:spPr>
            <a:xfrm>
              <a:off x="7554634" y="2040176"/>
              <a:ext cx="273540" cy="230688"/>
            </a:xfrm>
            <a:custGeom>
              <a:avLst/>
              <a:gdLst>
                <a:gd name="connsiteX0" fmla="*/ 7143 w 1271587"/>
                <a:gd name="connsiteY0" fmla="*/ 604837 h 1064418"/>
                <a:gd name="connsiteX1" fmla="*/ 426243 w 1271587"/>
                <a:gd name="connsiteY1" fmla="*/ 1064418 h 1064418"/>
                <a:gd name="connsiteX2" fmla="*/ 528637 w 1271587"/>
                <a:gd name="connsiteY2" fmla="*/ 1054893 h 1064418"/>
                <a:gd name="connsiteX3" fmla="*/ 1254918 w 1271587"/>
                <a:gd name="connsiteY3" fmla="*/ 273843 h 1064418"/>
                <a:gd name="connsiteX4" fmla="*/ 1271587 w 1271587"/>
                <a:gd name="connsiteY4" fmla="*/ 178593 h 1064418"/>
                <a:gd name="connsiteX5" fmla="*/ 1131093 w 1271587"/>
                <a:gd name="connsiteY5" fmla="*/ 0 h 1064418"/>
                <a:gd name="connsiteX6" fmla="*/ 1038225 w 1271587"/>
                <a:gd name="connsiteY6" fmla="*/ 2381 h 1064418"/>
                <a:gd name="connsiteX7" fmla="*/ 457200 w 1271587"/>
                <a:gd name="connsiteY7" fmla="*/ 595312 h 1064418"/>
                <a:gd name="connsiteX8" fmla="*/ 238125 w 1271587"/>
                <a:gd name="connsiteY8" fmla="*/ 373856 h 1064418"/>
                <a:gd name="connsiteX9" fmla="*/ 126206 w 1271587"/>
                <a:gd name="connsiteY9" fmla="*/ 371475 h 1064418"/>
                <a:gd name="connsiteX10" fmla="*/ 0 w 1271587"/>
                <a:gd name="connsiteY10" fmla="*/ 531018 h 1064418"/>
                <a:gd name="connsiteX11" fmla="*/ 7143 w 1271587"/>
                <a:gd name="connsiteY11" fmla="*/ 604837 h 1064418"/>
                <a:gd name="connsiteX0" fmla="*/ 7143 w 1271587"/>
                <a:gd name="connsiteY0" fmla="*/ 604837 h 1067977"/>
                <a:gd name="connsiteX1" fmla="*/ 426243 w 1271587"/>
                <a:gd name="connsiteY1" fmla="*/ 1064418 h 1067977"/>
                <a:gd name="connsiteX2" fmla="*/ 528637 w 1271587"/>
                <a:gd name="connsiteY2" fmla="*/ 1054893 h 1067977"/>
                <a:gd name="connsiteX3" fmla="*/ 1254918 w 1271587"/>
                <a:gd name="connsiteY3" fmla="*/ 273843 h 1067977"/>
                <a:gd name="connsiteX4" fmla="*/ 1271587 w 1271587"/>
                <a:gd name="connsiteY4" fmla="*/ 178593 h 1067977"/>
                <a:gd name="connsiteX5" fmla="*/ 1131093 w 1271587"/>
                <a:gd name="connsiteY5" fmla="*/ 0 h 1067977"/>
                <a:gd name="connsiteX6" fmla="*/ 1038225 w 1271587"/>
                <a:gd name="connsiteY6" fmla="*/ 2381 h 1067977"/>
                <a:gd name="connsiteX7" fmla="*/ 457200 w 1271587"/>
                <a:gd name="connsiteY7" fmla="*/ 595312 h 1067977"/>
                <a:gd name="connsiteX8" fmla="*/ 238125 w 1271587"/>
                <a:gd name="connsiteY8" fmla="*/ 373856 h 1067977"/>
                <a:gd name="connsiteX9" fmla="*/ 126206 w 1271587"/>
                <a:gd name="connsiteY9" fmla="*/ 371475 h 1067977"/>
                <a:gd name="connsiteX10" fmla="*/ 0 w 1271587"/>
                <a:gd name="connsiteY10" fmla="*/ 531018 h 1067977"/>
                <a:gd name="connsiteX11" fmla="*/ 7143 w 1271587"/>
                <a:gd name="connsiteY11" fmla="*/ 604837 h 1067977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1587"/>
                <a:gd name="connsiteY0" fmla="*/ 604837 h 1077089"/>
                <a:gd name="connsiteX1" fmla="*/ 426243 w 1271587"/>
                <a:gd name="connsiteY1" fmla="*/ 1064418 h 1077089"/>
                <a:gd name="connsiteX2" fmla="*/ 528637 w 1271587"/>
                <a:gd name="connsiteY2" fmla="*/ 1054893 h 1077089"/>
                <a:gd name="connsiteX3" fmla="*/ 1254918 w 1271587"/>
                <a:gd name="connsiteY3" fmla="*/ 273843 h 1077089"/>
                <a:gd name="connsiteX4" fmla="*/ 1271587 w 1271587"/>
                <a:gd name="connsiteY4" fmla="*/ 178593 h 1077089"/>
                <a:gd name="connsiteX5" fmla="*/ 1131093 w 1271587"/>
                <a:gd name="connsiteY5" fmla="*/ 0 h 1077089"/>
                <a:gd name="connsiteX6" fmla="*/ 1038225 w 1271587"/>
                <a:gd name="connsiteY6" fmla="*/ 2381 h 1077089"/>
                <a:gd name="connsiteX7" fmla="*/ 457200 w 1271587"/>
                <a:gd name="connsiteY7" fmla="*/ 595312 h 1077089"/>
                <a:gd name="connsiteX8" fmla="*/ 238125 w 1271587"/>
                <a:gd name="connsiteY8" fmla="*/ 373856 h 1077089"/>
                <a:gd name="connsiteX9" fmla="*/ 126206 w 1271587"/>
                <a:gd name="connsiteY9" fmla="*/ 371475 h 1077089"/>
                <a:gd name="connsiteX10" fmla="*/ 0 w 1271587"/>
                <a:gd name="connsiteY10" fmla="*/ 531018 h 1077089"/>
                <a:gd name="connsiteX11" fmla="*/ 7143 w 1271587"/>
                <a:gd name="connsiteY11" fmla="*/ 604837 h 1077089"/>
                <a:gd name="connsiteX0" fmla="*/ 7143 w 1275066"/>
                <a:gd name="connsiteY0" fmla="*/ 604837 h 1077089"/>
                <a:gd name="connsiteX1" fmla="*/ 426243 w 1275066"/>
                <a:gd name="connsiteY1" fmla="*/ 1064418 h 1077089"/>
                <a:gd name="connsiteX2" fmla="*/ 528637 w 1275066"/>
                <a:gd name="connsiteY2" fmla="*/ 1054893 h 1077089"/>
                <a:gd name="connsiteX3" fmla="*/ 1254918 w 1275066"/>
                <a:gd name="connsiteY3" fmla="*/ 273843 h 1077089"/>
                <a:gd name="connsiteX4" fmla="*/ 1271587 w 1275066"/>
                <a:gd name="connsiteY4" fmla="*/ 178593 h 1077089"/>
                <a:gd name="connsiteX5" fmla="*/ 1131093 w 1275066"/>
                <a:gd name="connsiteY5" fmla="*/ 0 h 1077089"/>
                <a:gd name="connsiteX6" fmla="*/ 1038225 w 1275066"/>
                <a:gd name="connsiteY6" fmla="*/ 2381 h 1077089"/>
                <a:gd name="connsiteX7" fmla="*/ 457200 w 1275066"/>
                <a:gd name="connsiteY7" fmla="*/ 595312 h 1077089"/>
                <a:gd name="connsiteX8" fmla="*/ 238125 w 1275066"/>
                <a:gd name="connsiteY8" fmla="*/ 373856 h 1077089"/>
                <a:gd name="connsiteX9" fmla="*/ 126206 w 1275066"/>
                <a:gd name="connsiteY9" fmla="*/ 371475 h 1077089"/>
                <a:gd name="connsiteX10" fmla="*/ 0 w 1275066"/>
                <a:gd name="connsiteY10" fmla="*/ 531018 h 1077089"/>
                <a:gd name="connsiteX11" fmla="*/ 7143 w 1275066"/>
                <a:gd name="connsiteY11" fmla="*/ 604837 h 1077089"/>
                <a:gd name="connsiteX0" fmla="*/ 7143 w 1280284"/>
                <a:gd name="connsiteY0" fmla="*/ 604837 h 1077089"/>
                <a:gd name="connsiteX1" fmla="*/ 426243 w 1280284"/>
                <a:gd name="connsiteY1" fmla="*/ 1064418 h 1077089"/>
                <a:gd name="connsiteX2" fmla="*/ 528637 w 1280284"/>
                <a:gd name="connsiteY2" fmla="*/ 1054893 h 1077089"/>
                <a:gd name="connsiteX3" fmla="*/ 1254918 w 1280284"/>
                <a:gd name="connsiteY3" fmla="*/ 273843 h 1077089"/>
                <a:gd name="connsiteX4" fmla="*/ 1271587 w 1280284"/>
                <a:gd name="connsiteY4" fmla="*/ 178593 h 1077089"/>
                <a:gd name="connsiteX5" fmla="*/ 1131093 w 1280284"/>
                <a:gd name="connsiteY5" fmla="*/ 0 h 1077089"/>
                <a:gd name="connsiteX6" fmla="*/ 1038225 w 1280284"/>
                <a:gd name="connsiteY6" fmla="*/ 2381 h 1077089"/>
                <a:gd name="connsiteX7" fmla="*/ 457200 w 1280284"/>
                <a:gd name="connsiteY7" fmla="*/ 595312 h 1077089"/>
                <a:gd name="connsiteX8" fmla="*/ 238125 w 1280284"/>
                <a:gd name="connsiteY8" fmla="*/ 373856 h 1077089"/>
                <a:gd name="connsiteX9" fmla="*/ 126206 w 1280284"/>
                <a:gd name="connsiteY9" fmla="*/ 371475 h 1077089"/>
                <a:gd name="connsiteX10" fmla="*/ 0 w 1280284"/>
                <a:gd name="connsiteY10" fmla="*/ 531018 h 1077089"/>
                <a:gd name="connsiteX11" fmla="*/ 7143 w 1280284"/>
                <a:gd name="connsiteY11" fmla="*/ 604837 h 1077089"/>
                <a:gd name="connsiteX0" fmla="*/ 7143 w 1282209"/>
                <a:gd name="connsiteY0" fmla="*/ 604837 h 1077089"/>
                <a:gd name="connsiteX1" fmla="*/ 426243 w 1282209"/>
                <a:gd name="connsiteY1" fmla="*/ 1064418 h 1077089"/>
                <a:gd name="connsiteX2" fmla="*/ 528637 w 1282209"/>
                <a:gd name="connsiteY2" fmla="*/ 1054893 h 1077089"/>
                <a:gd name="connsiteX3" fmla="*/ 1254918 w 1282209"/>
                <a:gd name="connsiteY3" fmla="*/ 273843 h 1077089"/>
                <a:gd name="connsiteX4" fmla="*/ 1271587 w 1282209"/>
                <a:gd name="connsiteY4" fmla="*/ 178593 h 1077089"/>
                <a:gd name="connsiteX5" fmla="*/ 1131093 w 1282209"/>
                <a:gd name="connsiteY5" fmla="*/ 0 h 1077089"/>
                <a:gd name="connsiteX6" fmla="*/ 1038225 w 1282209"/>
                <a:gd name="connsiteY6" fmla="*/ 2381 h 1077089"/>
                <a:gd name="connsiteX7" fmla="*/ 457200 w 1282209"/>
                <a:gd name="connsiteY7" fmla="*/ 595312 h 1077089"/>
                <a:gd name="connsiteX8" fmla="*/ 238125 w 1282209"/>
                <a:gd name="connsiteY8" fmla="*/ 373856 h 1077089"/>
                <a:gd name="connsiteX9" fmla="*/ 126206 w 1282209"/>
                <a:gd name="connsiteY9" fmla="*/ 371475 h 1077089"/>
                <a:gd name="connsiteX10" fmla="*/ 0 w 1282209"/>
                <a:gd name="connsiteY10" fmla="*/ 531018 h 1077089"/>
                <a:gd name="connsiteX11" fmla="*/ 7143 w 1282209"/>
                <a:gd name="connsiteY11" fmla="*/ 604837 h 1077089"/>
                <a:gd name="connsiteX0" fmla="*/ 7143 w 1282209"/>
                <a:gd name="connsiteY0" fmla="*/ 602456 h 1074708"/>
                <a:gd name="connsiteX1" fmla="*/ 426243 w 1282209"/>
                <a:gd name="connsiteY1" fmla="*/ 1062037 h 1074708"/>
                <a:gd name="connsiteX2" fmla="*/ 528637 w 1282209"/>
                <a:gd name="connsiteY2" fmla="*/ 1052512 h 1074708"/>
                <a:gd name="connsiteX3" fmla="*/ 1254918 w 1282209"/>
                <a:gd name="connsiteY3" fmla="*/ 271462 h 1074708"/>
                <a:gd name="connsiteX4" fmla="*/ 1271587 w 1282209"/>
                <a:gd name="connsiteY4" fmla="*/ 176212 h 1074708"/>
                <a:gd name="connsiteX5" fmla="*/ 1145381 w 1282209"/>
                <a:gd name="connsiteY5" fmla="*/ 4763 h 1074708"/>
                <a:gd name="connsiteX6" fmla="*/ 1038225 w 1282209"/>
                <a:gd name="connsiteY6" fmla="*/ 0 h 1074708"/>
                <a:gd name="connsiteX7" fmla="*/ 457200 w 1282209"/>
                <a:gd name="connsiteY7" fmla="*/ 592931 h 1074708"/>
                <a:gd name="connsiteX8" fmla="*/ 238125 w 1282209"/>
                <a:gd name="connsiteY8" fmla="*/ 371475 h 1074708"/>
                <a:gd name="connsiteX9" fmla="*/ 126206 w 1282209"/>
                <a:gd name="connsiteY9" fmla="*/ 369094 h 1074708"/>
                <a:gd name="connsiteX10" fmla="*/ 0 w 1282209"/>
                <a:gd name="connsiteY10" fmla="*/ 528637 h 1074708"/>
                <a:gd name="connsiteX11" fmla="*/ 7143 w 1282209"/>
                <a:gd name="connsiteY11" fmla="*/ 602456 h 1074708"/>
                <a:gd name="connsiteX0" fmla="*/ 7143 w 1282209"/>
                <a:gd name="connsiteY0" fmla="*/ 613102 h 1085354"/>
                <a:gd name="connsiteX1" fmla="*/ 426243 w 1282209"/>
                <a:gd name="connsiteY1" fmla="*/ 1072683 h 1085354"/>
                <a:gd name="connsiteX2" fmla="*/ 528637 w 1282209"/>
                <a:gd name="connsiteY2" fmla="*/ 1063158 h 1085354"/>
                <a:gd name="connsiteX3" fmla="*/ 1254918 w 1282209"/>
                <a:gd name="connsiteY3" fmla="*/ 282108 h 1085354"/>
                <a:gd name="connsiteX4" fmla="*/ 1271587 w 1282209"/>
                <a:gd name="connsiteY4" fmla="*/ 186858 h 1085354"/>
                <a:gd name="connsiteX5" fmla="*/ 1145381 w 1282209"/>
                <a:gd name="connsiteY5" fmla="*/ 15409 h 1085354"/>
                <a:gd name="connsiteX6" fmla="*/ 1038225 w 1282209"/>
                <a:gd name="connsiteY6" fmla="*/ 10646 h 1085354"/>
                <a:gd name="connsiteX7" fmla="*/ 457200 w 1282209"/>
                <a:gd name="connsiteY7" fmla="*/ 603577 h 1085354"/>
                <a:gd name="connsiteX8" fmla="*/ 238125 w 1282209"/>
                <a:gd name="connsiteY8" fmla="*/ 382121 h 1085354"/>
                <a:gd name="connsiteX9" fmla="*/ 126206 w 1282209"/>
                <a:gd name="connsiteY9" fmla="*/ 379740 h 1085354"/>
                <a:gd name="connsiteX10" fmla="*/ 0 w 1282209"/>
                <a:gd name="connsiteY10" fmla="*/ 539283 h 1085354"/>
                <a:gd name="connsiteX11" fmla="*/ 7143 w 1282209"/>
                <a:gd name="connsiteY11" fmla="*/ 613102 h 1085354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7143 w 1282209"/>
                <a:gd name="connsiteY0" fmla="*/ 618884 h 1091136"/>
                <a:gd name="connsiteX1" fmla="*/ 426243 w 1282209"/>
                <a:gd name="connsiteY1" fmla="*/ 1078465 h 1091136"/>
                <a:gd name="connsiteX2" fmla="*/ 528637 w 1282209"/>
                <a:gd name="connsiteY2" fmla="*/ 1068940 h 1091136"/>
                <a:gd name="connsiteX3" fmla="*/ 1254918 w 1282209"/>
                <a:gd name="connsiteY3" fmla="*/ 287890 h 1091136"/>
                <a:gd name="connsiteX4" fmla="*/ 1271587 w 1282209"/>
                <a:gd name="connsiteY4" fmla="*/ 192640 h 1091136"/>
                <a:gd name="connsiteX5" fmla="*/ 1145381 w 1282209"/>
                <a:gd name="connsiteY5" fmla="*/ 21191 h 1091136"/>
                <a:gd name="connsiteX6" fmla="*/ 1038225 w 1282209"/>
                <a:gd name="connsiteY6" fmla="*/ 16428 h 1091136"/>
                <a:gd name="connsiteX7" fmla="*/ 457200 w 1282209"/>
                <a:gd name="connsiteY7" fmla="*/ 609359 h 1091136"/>
                <a:gd name="connsiteX8" fmla="*/ 238125 w 1282209"/>
                <a:gd name="connsiteY8" fmla="*/ 387903 h 1091136"/>
                <a:gd name="connsiteX9" fmla="*/ 126206 w 1282209"/>
                <a:gd name="connsiteY9" fmla="*/ 385522 h 1091136"/>
                <a:gd name="connsiteX10" fmla="*/ 0 w 1282209"/>
                <a:gd name="connsiteY10" fmla="*/ 545065 h 1091136"/>
                <a:gd name="connsiteX11" fmla="*/ 7143 w 1282209"/>
                <a:gd name="connsiteY11" fmla="*/ 618884 h 1091136"/>
                <a:gd name="connsiteX0" fmla="*/ 0 w 1275066"/>
                <a:gd name="connsiteY0" fmla="*/ 618884 h 1091136"/>
                <a:gd name="connsiteX1" fmla="*/ 419100 w 1275066"/>
                <a:gd name="connsiteY1" fmla="*/ 1078465 h 1091136"/>
                <a:gd name="connsiteX2" fmla="*/ 521494 w 1275066"/>
                <a:gd name="connsiteY2" fmla="*/ 1068940 h 1091136"/>
                <a:gd name="connsiteX3" fmla="*/ 1247775 w 1275066"/>
                <a:gd name="connsiteY3" fmla="*/ 287890 h 1091136"/>
                <a:gd name="connsiteX4" fmla="*/ 1264444 w 1275066"/>
                <a:gd name="connsiteY4" fmla="*/ 192640 h 1091136"/>
                <a:gd name="connsiteX5" fmla="*/ 1138238 w 1275066"/>
                <a:gd name="connsiteY5" fmla="*/ 21191 h 1091136"/>
                <a:gd name="connsiteX6" fmla="*/ 1031082 w 1275066"/>
                <a:gd name="connsiteY6" fmla="*/ 16428 h 1091136"/>
                <a:gd name="connsiteX7" fmla="*/ 450057 w 1275066"/>
                <a:gd name="connsiteY7" fmla="*/ 609359 h 1091136"/>
                <a:gd name="connsiteX8" fmla="*/ 230982 w 1275066"/>
                <a:gd name="connsiteY8" fmla="*/ 387903 h 1091136"/>
                <a:gd name="connsiteX9" fmla="*/ 119063 w 1275066"/>
                <a:gd name="connsiteY9" fmla="*/ 385522 h 1091136"/>
                <a:gd name="connsiteX10" fmla="*/ 0 w 1275066"/>
                <a:gd name="connsiteY10" fmla="*/ 523633 h 1091136"/>
                <a:gd name="connsiteX11" fmla="*/ 0 w 1275066"/>
                <a:gd name="connsiteY11" fmla="*/ 618884 h 1091136"/>
                <a:gd name="connsiteX0" fmla="*/ 0 w 1275066"/>
                <a:gd name="connsiteY0" fmla="*/ 618884 h 1091136"/>
                <a:gd name="connsiteX1" fmla="*/ 419100 w 1275066"/>
                <a:gd name="connsiteY1" fmla="*/ 1078465 h 1091136"/>
                <a:gd name="connsiteX2" fmla="*/ 521494 w 1275066"/>
                <a:gd name="connsiteY2" fmla="*/ 1068940 h 1091136"/>
                <a:gd name="connsiteX3" fmla="*/ 1247775 w 1275066"/>
                <a:gd name="connsiteY3" fmla="*/ 287890 h 1091136"/>
                <a:gd name="connsiteX4" fmla="*/ 1264444 w 1275066"/>
                <a:gd name="connsiteY4" fmla="*/ 192640 h 1091136"/>
                <a:gd name="connsiteX5" fmla="*/ 1138238 w 1275066"/>
                <a:gd name="connsiteY5" fmla="*/ 21191 h 1091136"/>
                <a:gd name="connsiteX6" fmla="*/ 1031082 w 1275066"/>
                <a:gd name="connsiteY6" fmla="*/ 16428 h 1091136"/>
                <a:gd name="connsiteX7" fmla="*/ 450057 w 1275066"/>
                <a:gd name="connsiteY7" fmla="*/ 609359 h 1091136"/>
                <a:gd name="connsiteX8" fmla="*/ 230982 w 1275066"/>
                <a:gd name="connsiteY8" fmla="*/ 387903 h 1091136"/>
                <a:gd name="connsiteX9" fmla="*/ 119063 w 1275066"/>
                <a:gd name="connsiteY9" fmla="*/ 385522 h 1091136"/>
                <a:gd name="connsiteX10" fmla="*/ 0 w 1275066"/>
                <a:gd name="connsiteY10" fmla="*/ 523633 h 1091136"/>
                <a:gd name="connsiteX11" fmla="*/ 0 w 1275066"/>
                <a:gd name="connsiteY11" fmla="*/ 618884 h 1091136"/>
                <a:gd name="connsiteX0" fmla="*/ 11641 w 1286707"/>
                <a:gd name="connsiteY0" fmla="*/ 618884 h 1091136"/>
                <a:gd name="connsiteX1" fmla="*/ 430741 w 1286707"/>
                <a:gd name="connsiteY1" fmla="*/ 1078465 h 1091136"/>
                <a:gd name="connsiteX2" fmla="*/ 533135 w 1286707"/>
                <a:gd name="connsiteY2" fmla="*/ 1068940 h 1091136"/>
                <a:gd name="connsiteX3" fmla="*/ 1259416 w 1286707"/>
                <a:gd name="connsiteY3" fmla="*/ 287890 h 1091136"/>
                <a:gd name="connsiteX4" fmla="*/ 1276085 w 1286707"/>
                <a:gd name="connsiteY4" fmla="*/ 192640 h 1091136"/>
                <a:gd name="connsiteX5" fmla="*/ 1149879 w 1286707"/>
                <a:gd name="connsiteY5" fmla="*/ 21191 h 1091136"/>
                <a:gd name="connsiteX6" fmla="*/ 1042723 w 1286707"/>
                <a:gd name="connsiteY6" fmla="*/ 16428 h 1091136"/>
                <a:gd name="connsiteX7" fmla="*/ 461698 w 1286707"/>
                <a:gd name="connsiteY7" fmla="*/ 609359 h 1091136"/>
                <a:gd name="connsiteX8" fmla="*/ 242623 w 1286707"/>
                <a:gd name="connsiteY8" fmla="*/ 387903 h 1091136"/>
                <a:gd name="connsiteX9" fmla="*/ 130704 w 1286707"/>
                <a:gd name="connsiteY9" fmla="*/ 385522 h 1091136"/>
                <a:gd name="connsiteX10" fmla="*/ 11641 w 1286707"/>
                <a:gd name="connsiteY10" fmla="*/ 523633 h 1091136"/>
                <a:gd name="connsiteX11" fmla="*/ 11641 w 1286707"/>
                <a:gd name="connsiteY11" fmla="*/ 618884 h 1091136"/>
                <a:gd name="connsiteX0" fmla="*/ 19645 w 1294711"/>
                <a:gd name="connsiteY0" fmla="*/ 618884 h 1091136"/>
                <a:gd name="connsiteX1" fmla="*/ 438745 w 1294711"/>
                <a:gd name="connsiteY1" fmla="*/ 1078465 h 1091136"/>
                <a:gd name="connsiteX2" fmla="*/ 541139 w 1294711"/>
                <a:gd name="connsiteY2" fmla="*/ 1068940 h 1091136"/>
                <a:gd name="connsiteX3" fmla="*/ 1267420 w 1294711"/>
                <a:gd name="connsiteY3" fmla="*/ 287890 h 1091136"/>
                <a:gd name="connsiteX4" fmla="*/ 1284089 w 1294711"/>
                <a:gd name="connsiteY4" fmla="*/ 192640 h 1091136"/>
                <a:gd name="connsiteX5" fmla="*/ 1157883 w 1294711"/>
                <a:gd name="connsiteY5" fmla="*/ 21191 h 1091136"/>
                <a:gd name="connsiteX6" fmla="*/ 1050727 w 1294711"/>
                <a:gd name="connsiteY6" fmla="*/ 16428 h 1091136"/>
                <a:gd name="connsiteX7" fmla="*/ 469702 w 1294711"/>
                <a:gd name="connsiteY7" fmla="*/ 609359 h 1091136"/>
                <a:gd name="connsiteX8" fmla="*/ 250627 w 1294711"/>
                <a:gd name="connsiteY8" fmla="*/ 387903 h 1091136"/>
                <a:gd name="connsiteX9" fmla="*/ 138708 w 1294711"/>
                <a:gd name="connsiteY9" fmla="*/ 385522 h 1091136"/>
                <a:gd name="connsiteX10" fmla="*/ 19645 w 1294711"/>
                <a:gd name="connsiteY10" fmla="*/ 523633 h 1091136"/>
                <a:gd name="connsiteX11" fmla="*/ 19645 w 1294711"/>
                <a:gd name="connsiteY11" fmla="*/ 618884 h 1091136"/>
                <a:gd name="connsiteX0" fmla="*/ 18763 w 1293829"/>
                <a:gd name="connsiteY0" fmla="*/ 618884 h 1091136"/>
                <a:gd name="connsiteX1" fmla="*/ 437863 w 1293829"/>
                <a:gd name="connsiteY1" fmla="*/ 1078465 h 1091136"/>
                <a:gd name="connsiteX2" fmla="*/ 540257 w 1293829"/>
                <a:gd name="connsiteY2" fmla="*/ 1068940 h 1091136"/>
                <a:gd name="connsiteX3" fmla="*/ 1266538 w 1293829"/>
                <a:gd name="connsiteY3" fmla="*/ 287890 h 1091136"/>
                <a:gd name="connsiteX4" fmla="*/ 1283207 w 1293829"/>
                <a:gd name="connsiteY4" fmla="*/ 192640 h 1091136"/>
                <a:gd name="connsiteX5" fmla="*/ 1157001 w 1293829"/>
                <a:gd name="connsiteY5" fmla="*/ 21191 h 1091136"/>
                <a:gd name="connsiteX6" fmla="*/ 1049845 w 1293829"/>
                <a:gd name="connsiteY6" fmla="*/ 16428 h 1091136"/>
                <a:gd name="connsiteX7" fmla="*/ 468820 w 1293829"/>
                <a:gd name="connsiteY7" fmla="*/ 609359 h 1091136"/>
                <a:gd name="connsiteX8" fmla="*/ 249745 w 1293829"/>
                <a:gd name="connsiteY8" fmla="*/ 387903 h 1091136"/>
                <a:gd name="connsiteX9" fmla="*/ 137826 w 1293829"/>
                <a:gd name="connsiteY9" fmla="*/ 385522 h 1091136"/>
                <a:gd name="connsiteX10" fmla="*/ 18763 w 1293829"/>
                <a:gd name="connsiteY10" fmla="*/ 523633 h 1091136"/>
                <a:gd name="connsiteX11" fmla="*/ 18763 w 1293829"/>
                <a:gd name="connsiteY11" fmla="*/ 618884 h 109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3829" h="1091136">
                  <a:moveTo>
                    <a:pt x="18763" y="618884"/>
                  </a:moveTo>
                  <a:lnTo>
                    <a:pt x="437863" y="1078465"/>
                  </a:lnTo>
                  <a:cubicBezTo>
                    <a:pt x="474375" y="1099102"/>
                    <a:pt x="498981" y="1093547"/>
                    <a:pt x="540257" y="1068940"/>
                  </a:cubicBezTo>
                  <a:cubicBezTo>
                    <a:pt x="782351" y="718103"/>
                    <a:pt x="1067307" y="429177"/>
                    <a:pt x="1266538" y="287890"/>
                  </a:cubicBezTo>
                  <a:cubicBezTo>
                    <a:pt x="1303050" y="251378"/>
                    <a:pt x="1296701" y="222009"/>
                    <a:pt x="1283207" y="192640"/>
                  </a:cubicBezTo>
                  <a:lnTo>
                    <a:pt x="1157001" y="21191"/>
                  </a:lnTo>
                  <a:cubicBezTo>
                    <a:pt x="1126045" y="-11354"/>
                    <a:pt x="1095089" y="-1034"/>
                    <a:pt x="1049845" y="16428"/>
                  </a:cubicBezTo>
                  <a:cubicBezTo>
                    <a:pt x="822833" y="161684"/>
                    <a:pt x="626776" y="366471"/>
                    <a:pt x="468820" y="609359"/>
                  </a:cubicBezTo>
                  <a:lnTo>
                    <a:pt x="249745" y="387903"/>
                  </a:lnTo>
                  <a:cubicBezTo>
                    <a:pt x="210058" y="356153"/>
                    <a:pt x="179894" y="360122"/>
                    <a:pt x="137826" y="385522"/>
                  </a:cubicBezTo>
                  <a:cubicBezTo>
                    <a:pt x="98138" y="431559"/>
                    <a:pt x="58451" y="458546"/>
                    <a:pt x="18763" y="523633"/>
                  </a:cubicBezTo>
                  <a:cubicBezTo>
                    <a:pt x="-5049" y="555383"/>
                    <a:pt x="-7430" y="594278"/>
                    <a:pt x="18763" y="6188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Circle: Hollow 14"/>
            <p:cNvSpPr/>
            <p:nvPr/>
          </p:nvSpPr>
          <p:spPr>
            <a:xfrm>
              <a:off x="7468013" y="1931193"/>
              <a:ext cx="446783" cy="446783"/>
            </a:xfrm>
            <a:prstGeom prst="donut">
              <a:avLst>
                <a:gd name="adj" fmla="val 7797"/>
              </a:avLst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1560956" y="1729296"/>
            <a:ext cx="446783" cy="446783"/>
            <a:chOff x="11261467" y="1931193"/>
            <a:chExt cx="446783" cy="446783"/>
          </a:xfrm>
          <a:effectLst/>
        </p:grpSpPr>
        <p:sp>
          <p:nvSpPr>
            <p:cNvPr id="14" name="Freeform 127"/>
            <p:cNvSpPr/>
            <p:nvPr/>
          </p:nvSpPr>
          <p:spPr bwMode="auto">
            <a:xfrm>
              <a:off x="11404963" y="2007866"/>
              <a:ext cx="159790" cy="293437"/>
            </a:xfrm>
            <a:custGeom>
              <a:avLst/>
              <a:gdLst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38425"/>
                <a:gd name="connsiteY0" fmla="*/ 0 h 4914900"/>
                <a:gd name="connsiteX1" fmla="*/ 1676400 w 2638425"/>
                <a:gd name="connsiteY1" fmla="*/ 0 h 4914900"/>
                <a:gd name="connsiteX2" fmla="*/ 1676400 w 2638425"/>
                <a:gd name="connsiteY2" fmla="*/ 523875 h 4914900"/>
                <a:gd name="connsiteX3" fmla="*/ 2466975 w 2638425"/>
                <a:gd name="connsiteY3" fmla="*/ 647700 h 4914900"/>
                <a:gd name="connsiteX4" fmla="*/ 2466975 w 2638425"/>
                <a:gd name="connsiteY4" fmla="*/ 1628775 h 4914900"/>
                <a:gd name="connsiteX5" fmla="*/ 1276350 w 2638425"/>
                <a:gd name="connsiteY5" fmla="*/ 1400175 h 4914900"/>
                <a:gd name="connsiteX6" fmla="*/ 1238250 w 2638425"/>
                <a:gd name="connsiteY6" fmla="*/ 1800225 h 4914900"/>
                <a:gd name="connsiteX7" fmla="*/ 2638425 w 2638425"/>
                <a:gd name="connsiteY7" fmla="*/ 3276600 h 4914900"/>
                <a:gd name="connsiteX8" fmla="*/ 1685925 w 2638425"/>
                <a:gd name="connsiteY8" fmla="*/ 4305300 h 4914900"/>
                <a:gd name="connsiteX9" fmla="*/ 1685925 w 2638425"/>
                <a:gd name="connsiteY9" fmla="*/ 4914900 h 4914900"/>
                <a:gd name="connsiteX10" fmla="*/ 1038225 w 2638425"/>
                <a:gd name="connsiteY10" fmla="*/ 4914900 h 4914900"/>
                <a:gd name="connsiteX11" fmla="*/ 1038225 w 2638425"/>
                <a:gd name="connsiteY11" fmla="*/ 4381500 h 4914900"/>
                <a:gd name="connsiteX12" fmla="*/ 19050 w 2638425"/>
                <a:gd name="connsiteY12" fmla="*/ 4152900 h 4914900"/>
                <a:gd name="connsiteX13" fmla="*/ 19050 w 2638425"/>
                <a:gd name="connsiteY13" fmla="*/ 3133725 h 4914900"/>
                <a:gd name="connsiteX14" fmla="*/ 1181100 w 2638425"/>
                <a:gd name="connsiteY14" fmla="*/ 3533775 h 4914900"/>
                <a:gd name="connsiteX15" fmla="*/ 1333500 w 2638425"/>
                <a:gd name="connsiteY15" fmla="*/ 3086100 h 4914900"/>
                <a:gd name="connsiteX16" fmla="*/ 0 w 2638425"/>
                <a:gd name="connsiteY16" fmla="*/ 1447800 h 4914900"/>
                <a:gd name="connsiteX17" fmla="*/ 1038225 w 2638425"/>
                <a:gd name="connsiteY17" fmla="*/ 561975 h 4914900"/>
                <a:gd name="connsiteX18" fmla="*/ 1028700 w 2638425"/>
                <a:gd name="connsiteY18" fmla="*/ 0 h 4914900"/>
                <a:gd name="connsiteX0" fmla="*/ 1028700 w 2641426"/>
                <a:gd name="connsiteY0" fmla="*/ 0 h 4914900"/>
                <a:gd name="connsiteX1" fmla="*/ 1676400 w 2641426"/>
                <a:gd name="connsiteY1" fmla="*/ 0 h 4914900"/>
                <a:gd name="connsiteX2" fmla="*/ 1676400 w 2641426"/>
                <a:gd name="connsiteY2" fmla="*/ 523875 h 4914900"/>
                <a:gd name="connsiteX3" fmla="*/ 2466975 w 2641426"/>
                <a:gd name="connsiteY3" fmla="*/ 647700 h 4914900"/>
                <a:gd name="connsiteX4" fmla="*/ 2466975 w 2641426"/>
                <a:gd name="connsiteY4" fmla="*/ 1628775 h 4914900"/>
                <a:gd name="connsiteX5" fmla="*/ 1276350 w 2641426"/>
                <a:gd name="connsiteY5" fmla="*/ 1400175 h 4914900"/>
                <a:gd name="connsiteX6" fmla="*/ 1238250 w 2641426"/>
                <a:gd name="connsiteY6" fmla="*/ 1800225 h 4914900"/>
                <a:gd name="connsiteX7" fmla="*/ 2638425 w 2641426"/>
                <a:gd name="connsiteY7" fmla="*/ 3276600 h 4914900"/>
                <a:gd name="connsiteX8" fmla="*/ 1685925 w 2641426"/>
                <a:gd name="connsiteY8" fmla="*/ 4305300 h 4914900"/>
                <a:gd name="connsiteX9" fmla="*/ 1685925 w 2641426"/>
                <a:gd name="connsiteY9" fmla="*/ 4914900 h 4914900"/>
                <a:gd name="connsiteX10" fmla="*/ 1038225 w 2641426"/>
                <a:gd name="connsiteY10" fmla="*/ 4914900 h 4914900"/>
                <a:gd name="connsiteX11" fmla="*/ 1038225 w 2641426"/>
                <a:gd name="connsiteY11" fmla="*/ 4381500 h 4914900"/>
                <a:gd name="connsiteX12" fmla="*/ 19050 w 2641426"/>
                <a:gd name="connsiteY12" fmla="*/ 4152900 h 4914900"/>
                <a:gd name="connsiteX13" fmla="*/ 19050 w 2641426"/>
                <a:gd name="connsiteY13" fmla="*/ 3133725 h 4914900"/>
                <a:gd name="connsiteX14" fmla="*/ 1181100 w 2641426"/>
                <a:gd name="connsiteY14" fmla="*/ 3533775 h 4914900"/>
                <a:gd name="connsiteX15" fmla="*/ 1333500 w 2641426"/>
                <a:gd name="connsiteY15" fmla="*/ 3086100 h 4914900"/>
                <a:gd name="connsiteX16" fmla="*/ 0 w 2641426"/>
                <a:gd name="connsiteY16" fmla="*/ 1447800 h 4914900"/>
                <a:gd name="connsiteX17" fmla="*/ 1038225 w 2641426"/>
                <a:gd name="connsiteY17" fmla="*/ 561975 h 4914900"/>
                <a:gd name="connsiteX18" fmla="*/ 1028700 w 2641426"/>
                <a:gd name="connsiteY18" fmla="*/ 0 h 4914900"/>
                <a:gd name="connsiteX0" fmla="*/ 1028700 w 2640867"/>
                <a:gd name="connsiteY0" fmla="*/ 0 h 4914900"/>
                <a:gd name="connsiteX1" fmla="*/ 1676400 w 2640867"/>
                <a:gd name="connsiteY1" fmla="*/ 0 h 4914900"/>
                <a:gd name="connsiteX2" fmla="*/ 1676400 w 2640867"/>
                <a:gd name="connsiteY2" fmla="*/ 523875 h 4914900"/>
                <a:gd name="connsiteX3" fmla="*/ 2466975 w 2640867"/>
                <a:gd name="connsiteY3" fmla="*/ 647700 h 4914900"/>
                <a:gd name="connsiteX4" fmla="*/ 2466975 w 2640867"/>
                <a:gd name="connsiteY4" fmla="*/ 1628775 h 4914900"/>
                <a:gd name="connsiteX5" fmla="*/ 1276350 w 2640867"/>
                <a:gd name="connsiteY5" fmla="*/ 1400175 h 4914900"/>
                <a:gd name="connsiteX6" fmla="*/ 1238250 w 2640867"/>
                <a:gd name="connsiteY6" fmla="*/ 1800225 h 4914900"/>
                <a:gd name="connsiteX7" fmla="*/ 2638425 w 2640867"/>
                <a:gd name="connsiteY7" fmla="*/ 3276600 h 4914900"/>
                <a:gd name="connsiteX8" fmla="*/ 1685925 w 2640867"/>
                <a:gd name="connsiteY8" fmla="*/ 4305300 h 4914900"/>
                <a:gd name="connsiteX9" fmla="*/ 1685925 w 2640867"/>
                <a:gd name="connsiteY9" fmla="*/ 4914900 h 4914900"/>
                <a:gd name="connsiteX10" fmla="*/ 1038225 w 2640867"/>
                <a:gd name="connsiteY10" fmla="*/ 4914900 h 4914900"/>
                <a:gd name="connsiteX11" fmla="*/ 1038225 w 2640867"/>
                <a:gd name="connsiteY11" fmla="*/ 4381500 h 4914900"/>
                <a:gd name="connsiteX12" fmla="*/ 19050 w 2640867"/>
                <a:gd name="connsiteY12" fmla="*/ 4152900 h 4914900"/>
                <a:gd name="connsiteX13" fmla="*/ 19050 w 2640867"/>
                <a:gd name="connsiteY13" fmla="*/ 3133725 h 4914900"/>
                <a:gd name="connsiteX14" fmla="*/ 1181100 w 2640867"/>
                <a:gd name="connsiteY14" fmla="*/ 3533775 h 4914900"/>
                <a:gd name="connsiteX15" fmla="*/ 1333500 w 2640867"/>
                <a:gd name="connsiteY15" fmla="*/ 3086100 h 4914900"/>
                <a:gd name="connsiteX16" fmla="*/ 0 w 2640867"/>
                <a:gd name="connsiteY16" fmla="*/ 1447800 h 4914900"/>
                <a:gd name="connsiteX17" fmla="*/ 1038225 w 2640867"/>
                <a:gd name="connsiteY17" fmla="*/ 561975 h 4914900"/>
                <a:gd name="connsiteX18" fmla="*/ 1028700 w 2640867"/>
                <a:gd name="connsiteY18" fmla="*/ 0 h 4914900"/>
                <a:gd name="connsiteX0" fmla="*/ 1028700 w 2646293"/>
                <a:gd name="connsiteY0" fmla="*/ 0 h 4914900"/>
                <a:gd name="connsiteX1" fmla="*/ 1676400 w 2646293"/>
                <a:gd name="connsiteY1" fmla="*/ 0 h 4914900"/>
                <a:gd name="connsiteX2" fmla="*/ 1676400 w 2646293"/>
                <a:gd name="connsiteY2" fmla="*/ 523875 h 4914900"/>
                <a:gd name="connsiteX3" fmla="*/ 2466975 w 2646293"/>
                <a:gd name="connsiteY3" fmla="*/ 647700 h 4914900"/>
                <a:gd name="connsiteX4" fmla="*/ 2466975 w 2646293"/>
                <a:gd name="connsiteY4" fmla="*/ 1628775 h 4914900"/>
                <a:gd name="connsiteX5" fmla="*/ 1276350 w 2646293"/>
                <a:gd name="connsiteY5" fmla="*/ 1400175 h 4914900"/>
                <a:gd name="connsiteX6" fmla="*/ 1238250 w 2646293"/>
                <a:gd name="connsiteY6" fmla="*/ 1800225 h 4914900"/>
                <a:gd name="connsiteX7" fmla="*/ 2638425 w 2646293"/>
                <a:gd name="connsiteY7" fmla="*/ 3276600 h 4914900"/>
                <a:gd name="connsiteX8" fmla="*/ 1685925 w 2646293"/>
                <a:gd name="connsiteY8" fmla="*/ 4305300 h 4914900"/>
                <a:gd name="connsiteX9" fmla="*/ 1685925 w 2646293"/>
                <a:gd name="connsiteY9" fmla="*/ 4914900 h 4914900"/>
                <a:gd name="connsiteX10" fmla="*/ 1038225 w 2646293"/>
                <a:gd name="connsiteY10" fmla="*/ 4914900 h 4914900"/>
                <a:gd name="connsiteX11" fmla="*/ 1038225 w 2646293"/>
                <a:gd name="connsiteY11" fmla="*/ 4381500 h 4914900"/>
                <a:gd name="connsiteX12" fmla="*/ 19050 w 2646293"/>
                <a:gd name="connsiteY12" fmla="*/ 4152900 h 4914900"/>
                <a:gd name="connsiteX13" fmla="*/ 19050 w 2646293"/>
                <a:gd name="connsiteY13" fmla="*/ 3133725 h 4914900"/>
                <a:gd name="connsiteX14" fmla="*/ 1181100 w 2646293"/>
                <a:gd name="connsiteY14" fmla="*/ 3533775 h 4914900"/>
                <a:gd name="connsiteX15" fmla="*/ 1333500 w 2646293"/>
                <a:gd name="connsiteY15" fmla="*/ 3086100 h 4914900"/>
                <a:gd name="connsiteX16" fmla="*/ 0 w 2646293"/>
                <a:gd name="connsiteY16" fmla="*/ 1447800 h 4914900"/>
                <a:gd name="connsiteX17" fmla="*/ 1038225 w 2646293"/>
                <a:gd name="connsiteY17" fmla="*/ 561975 h 4914900"/>
                <a:gd name="connsiteX18" fmla="*/ 1028700 w 2646293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28700 w 2646344"/>
                <a:gd name="connsiteY0" fmla="*/ 0 h 4914900"/>
                <a:gd name="connsiteX1" fmla="*/ 1676400 w 2646344"/>
                <a:gd name="connsiteY1" fmla="*/ 0 h 4914900"/>
                <a:gd name="connsiteX2" fmla="*/ 1676400 w 2646344"/>
                <a:gd name="connsiteY2" fmla="*/ 523875 h 4914900"/>
                <a:gd name="connsiteX3" fmla="*/ 2466975 w 2646344"/>
                <a:gd name="connsiteY3" fmla="*/ 647700 h 4914900"/>
                <a:gd name="connsiteX4" fmla="*/ 2466975 w 2646344"/>
                <a:gd name="connsiteY4" fmla="*/ 1628775 h 4914900"/>
                <a:gd name="connsiteX5" fmla="*/ 1276350 w 2646344"/>
                <a:gd name="connsiteY5" fmla="*/ 1400175 h 4914900"/>
                <a:gd name="connsiteX6" fmla="*/ 1238250 w 2646344"/>
                <a:gd name="connsiteY6" fmla="*/ 1800225 h 4914900"/>
                <a:gd name="connsiteX7" fmla="*/ 2638425 w 2646344"/>
                <a:gd name="connsiteY7" fmla="*/ 3276600 h 4914900"/>
                <a:gd name="connsiteX8" fmla="*/ 1685925 w 2646344"/>
                <a:gd name="connsiteY8" fmla="*/ 4305300 h 4914900"/>
                <a:gd name="connsiteX9" fmla="*/ 1685925 w 2646344"/>
                <a:gd name="connsiteY9" fmla="*/ 4914900 h 4914900"/>
                <a:gd name="connsiteX10" fmla="*/ 1038225 w 2646344"/>
                <a:gd name="connsiteY10" fmla="*/ 4914900 h 4914900"/>
                <a:gd name="connsiteX11" fmla="*/ 1038225 w 2646344"/>
                <a:gd name="connsiteY11" fmla="*/ 4381500 h 4914900"/>
                <a:gd name="connsiteX12" fmla="*/ 19050 w 2646344"/>
                <a:gd name="connsiteY12" fmla="*/ 4152900 h 4914900"/>
                <a:gd name="connsiteX13" fmla="*/ 19050 w 2646344"/>
                <a:gd name="connsiteY13" fmla="*/ 3133725 h 4914900"/>
                <a:gd name="connsiteX14" fmla="*/ 1181100 w 2646344"/>
                <a:gd name="connsiteY14" fmla="*/ 3533775 h 4914900"/>
                <a:gd name="connsiteX15" fmla="*/ 1333500 w 2646344"/>
                <a:gd name="connsiteY15" fmla="*/ 3086100 h 4914900"/>
                <a:gd name="connsiteX16" fmla="*/ 0 w 2646344"/>
                <a:gd name="connsiteY16" fmla="*/ 1447800 h 4914900"/>
                <a:gd name="connsiteX17" fmla="*/ 1038225 w 2646344"/>
                <a:gd name="connsiteY17" fmla="*/ 561975 h 4914900"/>
                <a:gd name="connsiteX18" fmla="*/ 1028700 w 2646344"/>
                <a:gd name="connsiteY18" fmla="*/ 0 h 4914900"/>
                <a:gd name="connsiteX0" fmla="*/ 1064796 w 2682440"/>
                <a:gd name="connsiteY0" fmla="*/ 0 h 4914900"/>
                <a:gd name="connsiteX1" fmla="*/ 1712496 w 2682440"/>
                <a:gd name="connsiteY1" fmla="*/ 0 h 4914900"/>
                <a:gd name="connsiteX2" fmla="*/ 1712496 w 2682440"/>
                <a:gd name="connsiteY2" fmla="*/ 523875 h 4914900"/>
                <a:gd name="connsiteX3" fmla="*/ 2503071 w 2682440"/>
                <a:gd name="connsiteY3" fmla="*/ 647700 h 4914900"/>
                <a:gd name="connsiteX4" fmla="*/ 2503071 w 2682440"/>
                <a:gd name="connsiteY4" fmla="*/ 1628775 h 4914900"/>
                <a:gd name="connsiteX5" fmla="*/ 1312446 w 2682440"/>
                <a:gd name="connsiteY5" fmla="*/ 1400175 h 4914900"/>
                <a:gd name="connsiteX6" fmla="*/ 1274346 w 2682440"/>
                <a:gd name="connsiteY6" fmla="*/ 1800225 h 4914900"/>
                <a:gd name="connsiteX7" fmla="*/ 2674521 w 2682440"/>
                <a:gd name="connsiteY7" fmla="*/ 3276600 h 4914900"/>
                <a:gd name="connsiteX8" fmla="*/ 1722021 w 2682440"/>
                <a:gd name="connsiteY8" fmla="*/ 4305300 h 4914900"/>
                <a:gd name="connsiteX9" fmla="*/ 1722021 w 2682440"/>
                <a:gd name="connsiteY9" fmla="*/ 4914900 h 4914900"/>
                <a:gd name="connsiteX10" fmla="*/ 1074321 w 2682440"/>
                <a:gd name="connsiteY10" fmla="*/ 4914900 h 4914900"/>
                <a:gd name="connsiteX11" fmla="*/ 1074321 w 2682440"/>
                <a:gd name="connsiteY11" fmla="*/ 4381500 h 4914900"/>
                <a:gd name="connsiteX12" fmla="*/ 55146 w 2682440"/>
                <a:gd name="connsiteY12" fmla="*/ 4152900 h 4914900"/>
                <a:gd name="connsiteX13" fmla="*/ 55146 w 2682440"/>
                <a:gd name="connsiteY13" fmla="*/ 3133725 h 4914900"/>
                <a:gd name="connsiteX14" fmla="*/ 1217196 w 2682440"/>
                <a:gd name="connsiteY14" fmla="*/ 3533775 h 4914900"/>
                <a:gd name="connsiteX15" fmla="*/ 1369596 w 2682440"/>
                <a:gd name="connsiteY15" fmla="*/ 3086100 h 4914900"/>
                <a:gd name="connsiteX16" fmla="*/ 36096 w 2682440"/>
                <a:gd name="connsiteY16" fmla="*/ 1447800 h 4914900"/>
                <a:gd name="connsiteX17" fmla="*/ 1074321 w 2682440"/>
                <a:gd name="connsiteY17" fmla="*/ 561975 h 4914900"/>
                <a:gd name="connsiteX18" fmla="*/ 1064796 w 2682440"/>
                <a:gd name="connsiteY18" fmla="*/ 0 h 4914900"/>
                <a:gd name="connsiteX0" fmla="*/ 1065400 w 2683044"/>
                <a:gd name="connsiteY0" fmla="*/ 0 h 4914900"/>
                <a:gd name="connsiteX1" fmla="*/ 1713100 w 2683044"/>
                <a:gd name="connsiteY1" fmla="*/ 0 h 4914900"/>
                <a:gd name="connsiteX2" fmla="*/ 1713100 w 2683044"/>
                <a:gd name="connsiteY2" fmla="*/ 523875 h 4914900"/>
                <a:gd name="connsiteX3" fmla="*/ 2503675 w 2683044"/>
                <a:gd name="connsiteY3" fmla="*/ 647700 h 4914900"/>
                <a:gd name="connsiteX4" fmla="*/ 2503675 w 2683044"/>
                <a:gd name="connsiteY4" fmla="*/ 1628775 h 4914900"/>
                <a:gd name="connsiteX5" fmla="*/ 1313050 w 2683044"/>
                <a:gd name="connsiteY5" fmla="*/ 1400175 h 4914900"/>
                <a:gd name="connsiteX6" fmla="*/ 1274950 w 2683044"/>
                <a:gd name="connsiteY6" fmla="*/ 1800225 h 4914900"/>
                <a:gd name="connsiteX7" fmla="*/ 2675125 w 2683044"/>
                <a:gd name="connsiteY7" fmla="*/ 3276600 h 4914900"/>
                <a:gd name="connsiteX8" fmla="*/ 1722625 w 2683044"/>
                <a:gd name="connsiteY8" fmla="*/ 4305300 h 4914900"/>
                <a:gd name="connsiteX9" fmla="*/ 1722625 w 2683044"/>
                <a:gd name="connsiteY9" fmla="*/ 4914900 h 4914900"/>
                <a:gd name="connsiteX10" fmla="*/ 1074925 w 2683044"/>
                <a:gd name="connsiteY10" fmla="*/ 4914900 h 4914900"/>
                <a:gd name="connsiteX11" fmla="*/ 1074925 w 2683044"/>
                <a:gd name="connsiteY11" fmla="*/ 4381500 h 4914900"/>
                <a:gd name="connsiteX12" fmla="*/ 55750 w 2683044"/>
                <a:gd name="connsiteY12" fmla="*/ 4152900 h 4914900"/>
                <a:gd name="connsiteX13" fmla="*/ 55750 w 2683044"/>
                <a:gd name="connsiteY13" fmla="*/ 3133725 h 4914900"/>
                <a:gd name="connsiteX14" fmla="*/ 1217800 w 2683044"/>
                <a:gd name="connsiteY14" fmla="*/ 3533775 h 4914900"/>
                <a:gd name="connsiteX15" fmla="*/ 1370200 w 2683044"/>
                <a:gd name="connsiteY15" fmla="*/ 3086100 h 4914900"/>
                <a:gd name="connsiteX16" fmla="*/ 36700 w 2683044"/>
                <a:gd name="connsiteY16" fmla="*/ 1447800 h 4914900"/>
                <a:gd name="connsiteX17" fmla="*/ 1074925 w 2683044"/>
                <a:gd name="connsiteY17" fmla="*/ 561975 h 4914900"/>
                <a:gd name="connsiteX18" fmla="*/ 1065400 w 2683044"/>
                <a:gd name="connsiteY18" fmla="*/ 0 h 4914900"/>
                <a:gd name="connsiteX0" fmla="*/ 1061280 w 2678924"/>
                <a:gd name="connsiteY0" fmla="*/ 0 h 4914900"/>
                <a:gd name="connsiteX1" fmla="*/ 1708980 w 2678924"/>
                <a:gd name="connsiteY1" fmla="*/ 0 h 4914900"/>
                <a:gd name="connsiteX2" fmla="*/ 1708980 w 2678924"/>
                <a:gd name="connsiteY2" fmla="*/ 523875 h 4914900"/>
                <a:gd name="connsiteX3" fmla="*/ 2499555 w 2678924"/>
                <a:gd name="connsiteY3" fmla="*/ 647700 h 4914900"/>
                <a:gd name="connsiteX4" fmla="*/ 2499555 w 2678924"/>
                <a:gd name="connsiteY4" fmla="*/ 1628775 h 4914900"/>
                <a:gd name="connsiteX5" fmla="*/ 1308930 w 2678924"/>
                <a:gd name="connsiteY5" fmla="*/ 1400175 h 4914900"/>
                <a:gd name="connsiteX6" fmla="*/ 1270830 w 2678924"/>
                <a:gd name="connsiteY6" fmla="*/ 1800225 h 4914900"/>
                <a:gd name="connsiteX7" fmla="*/ 2671005 w 2678924"/>
                <a:gd name="connsiteY7" fmla="*/ 3276600 h 4914900"/>
                <a:gd name="connsiteX8" fmla="*/ 1718505 w 2678924"/>
                <a:gd name="connsiteY8" fmla="*/ 4305300 h 4914900"/>
                <a:gd name="connsiteX9" fmla="*/ 1718505 w 2678924"/>
                <a:gd name="connsiteY9" fmla="*/ 4914900 h 4914900"/>
                <a:gd name="connsiteX10" fmla="*/ 1070805 w 2678924"/>
                <a:gd name="connsiteY10" fmla="*/ 4914900 h 4914900"/>
                <a:gd name="connsiteX11" fmla="*/ 1070805 w 2678924"/>
                <a:gd name="connsiteY11" fmla="*/ 4381500 h 4914900"/>
                <a:gd name="connsiteX12" fmla="*/ 51630 w 2678924"/>
                <a:gd name="connsiteY12" fmla="*/ 4152900 h 4914900"/>
                <a:gd name="connsiteX13" fmla="*/ 51630 w 2678924"/>
                <a:gd name="connsiteY13" fmla="*/ 3133725 h 4914900"/>
                <a:gd name="connsiteX14" fmla="*/ 1213680 w 2678924"/>
                <a:gd name="connsiteY14" fmla="*/ 3533775 h 4914900"/>
                <a:gd name="connsiteX15" fmla="*/ 1366080 w 2678924"/>
                <a:gd name="connsiteY15" fmla="*/ 3086100 h 4914900"/>
                <a:gd name="connsiteX16" fmla="*/ 32580 w 2678924"/>
                <a:gd name="connsiteY16" fmla="*/ 1447800 h 4914900"/>
                <a:gd name="connsiteX17" fmla="*/ 1070805 w 2678924"/>
                <a:gd name="connsiteY17" fmla="*/ 561975 h 4914900"/>
                <a:gd name="connsiteX18" fmla="*/ 1061280 w 2678924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61749 w 2679393"/>
                <a:gd name="connsiteY0" fmla="*/ 0 h 4914900"/>
                <a:gd name="connsiteX1" fmla="*/ 1709449 w 2679393"/>
                <a:gd name="connsiteY1" fmla="*/ 0 h 4914900"/>
                <a:gd name="connsiteX2" fmla="*/ 1709449 w 2679393"/>
                <a:gd name="connsiteY2" fmla="*/ 523875 h 4914900"/>
                <a:gd name="connsiteX3" fmla="*/ 2500024 w 2679393"/>
                <a:gd name="connsiteY3" fmla="*/ 647700 h 4914900"/>
                <a:gd name="connsiteX4" fmla="*/ 2500024 w 2679393"/>
                <a:gd name="connsiteY4" fmla="*/ 1628775 h 4914900"/>
                <a:gd name="connsiteX5" fmla="*/ 1309399 w 2679393"/>
                <a:gd name="connsiteY5" fmla="*/ 1400175 h 4914900"/>
                <a:gd name="connsiteX6" fmla="*/ 1271299 w 2679393"/>
                <a:gd name="connsiteY6" fmla="*/ 1800225 h 4914900"/>
                <a:gd name="connsiteX7" fmla="*/ 2671474 w 2679393"/>
                <a:gd name="connsiteY7" fmla="*/ 3276600 h 4914900"/>
                <a:gd name="connsiteX8" fmla="*/ 1718974 w 2679393"/>
                <a:gd name="connsiteY8" fmla="*/ 4305300 h 4914900"/>
                <a:gd name="connsiteX9" fmla="*/ 1718974 w 2679393"/>
                <a:gd name="connsiteY9" fmla="*/ 4914900 h 4914900"/>
                <a:gd name="connsiteX10" fmla="*/ 1071274 w 2679393"/>
                <a:gd name="connsiteY10" fmla="*/ 4914900 h 4914900"/>
                <a:gd name="connsiteX11" fmla="*/ 1071274 w 2679393"/>
                <a:gd name="connsiteY11" fmla="*/ 4381500 h 4914900"/>
                <a:gd name="connsiteX12" fmla="*/ 52099 w 2679393"/>
                <a:gd name="connsiteY12" fmla="*/ 4152900 h 4914900"/>
                <a:gd name="connsiteX13" fmla="*/ 52099 w 2679393"/>
                <a:gd name="connsiteY13" fmla="*/ 3133725 h 4914900"/>
                <a:gd name="connsiteX14" fmla="*/ 1214149 w 2679393"/>
                <a:gd name="connsiteY14" fmla="*/ 3533775 h 4914900"/>
                <a:gd name="connsiteX15" fmla="*/ 1366549 w 2679393"/>
                <a:gd name="connsiteY15" fmla="*/ 3086100 h 4914900"/>
                <a:gd name="connsiteX16" fmla="*/ 33049 w 2679393"/>
                <a:gd name="connsiteY16" fmla="*/ 1447800 h 4914900"/>
                <a:gd name="connsiteX17" fmla="*/ 1071274 w 2679393"/>
                <a:gd name="connsiteY17" fmla="*/ 561975 h 4914900"/>
                <a:gd name="connsiteX18" fmla="*/ 1061749 w 267939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  <a:gd name="connsiteX0" fmla="*/ 1058739 w 2676383"/>
                <a:gd name="connsiteY0" fmla="*/ 0 h 4914900"/>
                <a:gd name="connsiteX1" fmla="*/ 1706439 w 2676383"/>
                <a:gd name="connsiteY1" fmla="*/ 0 h 4914900"/>
                <a:gd name="connsiteX2" fmla="*/ 1706439 w 2676383"/>
                <a:gd name="connsiteY2" fmla="*/ 523875 h 4914900"/>
                <a:gd name="connsiteX3" fmla="*/ 2497014 w 2676383"/>
                <a:gd name="connsiteY3" fmla="*/ 647700 h 4914900"/>
                <a:gd name="connsiteX4" fmla="*/ 2497014 w 2676383"/>
                <a:gd name="connsiteY4" fmla="*/ 1628775 h 4914900"/>
                <a:gd name="connsiteX5" fmla="*/ 1306389 w 2676383"/>
                <a:gd name="connsiteY5" fmla="*/ 1400175 h 4914900"/>
                <a:gd name="connsiteX6" fmla="*/ 1268289 w 2676383"/>
                <a:gd name="connsiteY6" fmla="*/ 1800225 h 4914900"/>
                <a:gd name="connsiteX7" fmla="*/ 2668464 w 2676383"/>
                <a:gd name="connsiteY7" fmla="*/ 3276600 h 4914900"/>
                <a:gd name="connsiteX8" fmla="*/ 1715964 w 2676383"/>
                <a:gd name="connsiteY8" fmla="*/ 4305300 h 4914900"/>
                <a:gd name="connsiteX9" fmla="*/ 1715964 w 2676383"/>
                <a:gd name="connsiteY9" fmla="*/ 4914900 h 4914900"/>
                <a:gd name="connsiteX10" fmla="*/ 1068264 w 2676383"/>
                <a:gd name="connsiteY10" fmla="*/ 4914900 h 4914900"/>
                <a:gd name="connsiteX11" fmla="*/ 1068264 w 2676383"/>
                <a:gd name="connsiteY11" fmla="*/ 4381500 h 4914900"/>
                <a:gd name="connsiteX12" fmla="*/ 49089 w 2676383"/>
                <a:gd name="connsiteY12" fmla="*/ 4152900 h 4914900"/>
                <a:gd name="connsiteX13" fmla="*/ 49089 w 2676383"/>
                <a:gd name="connsiteY13" fmla="*/ 3133725 h 4914900"/>
                <a:gd name="connsiteX14" fmla="*/ 1211139 w 2676383"/>
                <a:gd name="connsiteY14" fmla="*/ 3533775 h 4914900"/>
                <a:gd name="connsiteX15" fmla="*/ 1363539 w 2676383"/>
                <a:gd name="connsiteY15" fmla="*/ 3086100 h 4914900"/>
                <a:gd name="connsiteX16" fmla="*/ 30039 w 2676383"/>
                <a:gd name="connsiteY16" fmla="*/ 1447800 h 4914900"/>
                <a:gd name="connsiteX17" fmla="*/ 1068264 w 2676383"/>
                <a:gd name="connsiteY17" fmla="*/ 561975 h 4914900"/>
                <a:gd name="connsiteX18" fmla="*/ 1058739 w 2676383"/>
                <a:gd name="connsiteY18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76383" h="4914900">
                  <a:moveTo>
                    <a:pt x="1058739" y="0"/>
                  </a:moveTo>
                  <a:lnTo>
                    <a:pt x="1706439" y="0"/>
                  </a:lnTo>
                  <a:lnTo>
                    <a:pt x="1706439" y="523875"/>
                  </a:lnTo>
                  <a:cubicBezTo>
                    <a:pt x="2008064" y="531813"/>
                    <a:pt x="2233489" y="573087"/>
                    <a:pt x="2497014" y="647700"/>
                  </a:cubicBezTo>
                  <a:lnTo>
                    <a:pt x="2497014" y="1628775"/>
                  </a:lnTo>
                  <a:cubicBezTo>
                    <a:pt x="2047752" y="1390650"/>
                    <a:pt x="1488951" y="1281112"/>
                    <a:pt x="1306389" y="1400175"/>
                  </a:cubicBezTo>
                  <a:cubicBezTo>
                    <a:pt x="1127001" y="1471613"/>
                    <a:pt x="1142876" y="1714500"/>
                    <a:pt x="1268289" y="1800225"/>
                  </a:cubicBezTo>
                  <a:cubicBezTo>
                    <a:pt x="1425452" y="2020888"/>
                    <a:pt x="2792289" y="2236787"/>
                    <a:pt x="2668464" y="3276600"/>
                  </a:cubicBezTo>
                  <a:cubicBezTo>
                    <a:pt x="2608139" y="4000500"/>
                    <a:pt x="1966789" y="4233862"/>
                    <a:pt x="1715964" y="4305300"/>
                  </a:cubicBezTo>
                  <a:lnTo>
                    <a:pt x="1715964" y="4914900"/>
                  </a:lnTo>
                  <a:lnTo>
                    <a:pt x="1068264" y="4914900"/>
                  </a:lnTo>
                  <a:lnTo>
                    <a:pt x="1068264" y="4381500"/>
                  </a:lnTo>
                  <a:cubicBezTo>
                    <a:pt x="685676" y="4371975"/>
                    <a:pt x="222127" y="4267200"/>
                    <a:pt x="49089" y="4152900"/>
                  </a:cubicBezTo>
                  <a:lnTo>
                    <a:pt x="49089" y="3133725"/>
                  </a:lnTo>
                  <a:cubicBezTo>
                    <a:pt x="403102" y="3438525"/>
                    <a:pt x="923802" y="3562350"/>
                    <a:pt x="1211139" y="3533775"/>
                  </a:cubicBezTo>
                  <a:cubicBezTo>
                    <a:pt x="1490539" y="3503613"/>
                    <a:pt x="1498476" y="3201988"/>
                    <a:pt x="1363539" y="3086100"/>
                  </a:cubicBezTo>
                  <a:cubicBezTo>
                    <a:pt x="1176215" y="2820987"/>
                    <a:pt x="-220786" y="2727324"/>
                    <a:pt x="30039" y="1447800"/>
                  </a:cubicBezTo>
                  <a:cubicBezTo>
                    <a:pt x="142751" y="795338"/>
                    <a:pt x="798389" y="585787"/>
                    <a:pt x="1068264" y="561975"/>
                  </a:cubicBezTo>
                  <a:lnTo>
                    <a:pt x="105873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Circle: Hollow 15"/>
            <p:cNvSpPr/>
            <p:nvPr/>
          </p:nvSpPr>
          <p:spPr>
            <a:xfrm>
              <a:off x="11261467" y="1931193"/>
              <a:ext cx="446783" cy="446783"/>
            </a:xfrm>
            <a:prstGeom prst="donut">
              <a:avLst>
                <a:gd name="adj" fmla="val 7797"/>
              </a:avLst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</p:grp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2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812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8" y="204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36" name="think-cell Slide" r:id="rId11" imgW="377" imgH="377" progId="TCLayout.ActiveDocument.1">
                  <p:embed/>
                </p:oleObj>
              </mc:Choice>
              <mc:Fallback>
                <p:oleObj name="think-cell Slide" r:id="rId11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58" y="204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28697" y="932646"/>
            <a:ext cx="476936" cy="881026"/>
            <a:chOff x="1691325" y="5357506"/>
            <a:chExt cx="378723" cy="699600"/>
          </a:xfrm>
          <a:solidFill>
            <a:srgbClr val="0074AF"/>
          </a:solidFill>
        </p:grpSpPr>
        <p:sp>
          <p:nvSpPr>
            <p:cNvPr id="72" name="Rectangle 71"/>
            <p:cNvSpPr/>
            <p:nvPr>
              <p:custDataLst>
                <p:tags r:id="rId8"/>
              </p:custDataLst>
            </p:nvPr>
          </p:nvSpPr>
          <p:spPr bwMode="auto">
            <a:xfrm>
              <a:off x="1691326" y="5397044"/>
              <a:ext cx="378722" cy="275634"/>
            </a:xfrm>
            <a:prstGeom prst="rect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txBody>
            <a:bodyPr vert="horz" wrap="none" lIns="91427" tIns="45713" rIns="91427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1899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0281" algn="l"/>
                </a:tabLst>
              </a:pPr>
              <a:r>
                <a:rPr lang="en-US" sz="1372" b="1" dirty="0">
                  <a:solidFill>
                    <a:srgbClr val="FFFFFF"/>
                  </a:solidFill>
                  <a:ea typeface="ＭＳ Ｐゴシック" pitchFamily="34" charset="-128"/>
                </a:rPr>
                <a:t>1</a:t>
              </a:r>
            </a:p>
          </p:txBody>
        </p:sp>
        <p:cxnSp>
          <p:nvCxnSpPr>
            <p:cNvPr id="73" name="Straight Connector 72"/>
            <p:cNvCxnSpPr/>
            <p:nvPr/>
          </p:nvCxnSpPr>
          <p:spPr>
            <a:xfrm flipV="1">
              <a:off x="1691325" y="5357506"/>
              <a:ext cx="0" cy="699600"/>
            </a:xfrm>
            <a:prstGeom prst="line">
              <a:avLst/>
            </a:prstGeom>
            <a:grpFill/>
            <a:ln>
              <a:solidFill>
                <a:srgbClr val="0074AF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/>
          <p:cNvSpPr/>
          <p:nvPr/>
        </p:nvSpPr>
        <p:spPr>
          <a:xfrm>
            <a:off x="3767126" y="1389987"/>
            <a:ext cx="2610109" cy="523220"/>
          </a:xfrm>
          <a:prstGeom prst="rect">
            <a:avLst/>
          </a:prstGeom>
          <a:noFill/>
          <a:ln w="3175">
            <a:noFill/>
          </a:ln>
        </p:spPr>
        <p:txBody>
          <a:bodyPr wrap="square" lIns="0" rtlCol="0" anchor="t" anchorCtr="0">
            <a:spAutoFit/>
          </a:bodyPr>
          <a:lstStyle/>
          <a:p>
            <a:pPr defTabSz="914225"/>
            <a:r>
              <a:rPr lang="en-IN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BOT Envisioning Workshop - $10K with limited BOT delivered</a:t>
            </a:r>
          </a:p>
        </p:txBody>
      </p:sp>
      <p:grpSp>
        <p:nvGrpSpPr>
          <p:cNvPr id="110" name="Group 109"/>
          <p:cNvGrpSpPr/>
          <p:nvPr/>
        </p:nvGrpSpPr>
        <p:grpSpPr>
          <a:xfrm>
            <a:off x="3201475" y="1346695"/>
            <a:ext cx="489093" cy="376476"/>
            <a:chOff x="896532" y="785004"/>
            <a:chExt cx="684623" cy="526985"/>
          </a:xfrm>
          <a:solidFill>
            <a:srgbClr val="0074AF"/>
          </a:solidFill>
        </p:grpSpPr>
        <p:sp>
          <p:nvSpPr>
            <p:cNvPr id="111" name="Oval 110"/>
            <p:cNvSpPr>
              <a:spLocks noChangeArrowheads="1"/>
            </p:cNvSpPr>
            <p:nvPr/>
          </p:nvSpPr>
          <p:spPr bwMode="auto">
            <a:xfrm>
              <a:off x="1135916" y="785004"/>
              <a:ext cx="218446" cy="218809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924" fontAlgn="base">
                <a:spcBef>
                  <a:spcPct val="0"/>
                </a:spcBef>
                <a:spcAft>
                  <a:spcPct val="0"/>
                </a:spcAft>
              </a:pPr>
              <a:endPara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sym typeface="Segoe UI" panose="020B0502040204020203" pitchFamily="34" charset="0"/>
              </a:endParaRPr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1057398" y="1029577"/>
              <a:ext cx="369743" cy="282412"/>
            </a:xfrm>
            <a:custGeom>
              <a:avLst/>
              <a:gdLst>
                <a:gd name="T0" fmla="*/ 420 w 456"/>
                <a:gd name="T1" fmla="*/ 125 h 405"/>
                <a:gd name="T2" fmla="*/ 311 w 456"/>
                <a:gd name="T3" fmla="*/ 0 h 405"/>
                <a:gd name="T4" fmla="*/ 233 w 456"/>
                <a:gd name="T5" fmla="*/ 97 h 405"/>
                <a:gd name="T6" fmla="*/ 223 w 456"/>
                <a:gd name="T7" fmla="*/ 97 h 405"/>
                <a:gd name="T8" fmla="*/ 145 w 456"/>
                <a:gd name="T9" fmla="*/ 0 h 405"/>
                <a:gd name="T10" fmla="*/ 37 w 456"/>
                <a:gd name="T11" fmla="*/ 125 h 405"/>
                <a:gd name="T12" fmla="*/ 30 w 456"/>
                <a:gd name="T13" fmla="*/ 307 h 405"/>
                <a:gd name="T14" fmla="*/ 220 w 456"/>
                <a:gd name="T15" fmla="*/ 405 h 405"/>
                <a:gd name="T16" fmla="*/ 236 w 456"/>
                <a:gd name="T17" fmla="*/ 405 h 405"/>
                <a:gd name="T18" fmla="*/ 427 w 456"/>
                <a:gd name="T19" fmla="*/ 307 h 405"/>
                <a:gd name="T20" fmla="*/ 420 w 456"/>
                <a:gd name="T21" fmla="*/ 125 h 405"/>
                <a:gd name="connsiteX0" fmla="*/ 8936 w 9461"/>
                <a:gd name="connsiteY0" fmla="*/ 3086 h 10000"/>
                <a:gd name="connsiteX1" fmla="*/ 6545 w 9461"/>
                <a:gd name="connsiteY1" fmla="*/ 0 h 10000"/>
                <a:gd name="connsiteX2" fmla="*/ 4835 w 9461"/>
                <a:gd name="connsiteY2" fmla="*/ 2395 h 10000"/>
                <a:gd name="connsiteX3" fmla="*/ 4615 w 9461"/>
                <a:gd name="connsiteY3" fmla="*/ 2395 h 10000"/>
                <a:gd name="connsiteX4" fmla="*/ 2905 w 9461"/>
                <a:gd name="connsiteY4" fmla="*/ 0 h 10000"/>
                <a:gd name="connsiteX5" fmla="*/ 536 w 9461"/>
                <a:gd name="connsiteY5" fmla="*/ 3086 h 10000"/>
                <a:gd name="connsiteX6" fmla="*/ 383 w 9461"/>
                <a:gd name="connsiteY6" fmla="*/ 7580 h 10000"/>
                <a:gd name="connsiteX7" fmla="*/ 4550 w 9461"/>
                <a:gd name="connsiteY7" fmla="*/ 10000 h 10000"/>
                <a:gd name="connsiteX8" fmla="*/ 9089 w 9461"/>
                <a:gd name="connsiteY8" fmla="*/ 7580 h 10000"/>
                <a:gd name="connsiteX9" fmla="*/ 8936 w 9461"/>
                <a:gd name="connsiteY9" fmla="*/ 3086 h 10000"/>
                <a:gd name="connsiteX0" fmla="*/ 9445 w 10000"/>
                <a:gd name="connsiteY0" fmla="*/ 3086 h 8141"/>
                <a:gd name="connsiteX1" fmla="*/ 6918 w 10000"/>
                <a:gd name="connsiteY1" fmla="*/ 0 h 8141"/>
                <a:gd name="connsiteX2" fmla="*/ 5110 w 10000"/>
                <a:gd name="connsiteY2" fmla="*/ 2395 h 8141"/>
                <a:gd name="connsiteX3" fmla="*/ 4878 w 10000"/>
                <a:gd name="connsiteY3" fmla="*/ 2395 h 8141"/>
                <a:gd name="connsiteX4" fmla="*/ 3070 w 10000"/>
                <a:gd name="connsiteY4" fmla="*/ 0 h 8141"/>
                <a:gd name="connsiteX5" fmla="*/ 567 w 10000"/>
                <a:gd name="connsiteY5" fmla="*/ 3086 h 8141"/>
                <a:gd name="connsiteX6" fmla="*/ 405 w 10000"/>
                <a:gd name="connsiteY6" fmla="*/ 7580 h 8141"/>
                <a:gd name="connsiteX7" fmla="*/ 9607 w 10000"/>
                <a:gd name="connsiteY7" fmla="*/ 7580 h 8141"/>
                <a:gd name="connsiteX8" fmla="*/ 9445 w 10000"/>
                <a:gd name="connsiteY8" fmla="*/ 3086 h 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8141">
                  <a:moveTo>
                    <a:pt x="9445" y="3086"/>
                  </a:moveTo>
                  <a:cubicBezTo>
                    <a:pt x="8262" y="938"/>
                    <a:pt x="7289" y="0"/>
                    <a:pt x="6918" y="0"/>
                  </a:cubicBezTo>
                  <a:cubicBezTo>
                    <a:pt x="6570" y="0"/>
                    <a:pt x="5435" y="2395"/>
                    <a:pt x="5110" y="2395"/>
                  </a:cubicBezTo>
                  <a:lnTo>
                    <a:pt x="4878" y="2395"/>
                  </a:lnTo>
                  <a:cubicBezTo>
                    <a:pt x="4577" y="2395"/>
                    <a:pt x="3441" y="0"/>
                    <a:pt x="3070" y="0"/>
                  </a:cubicBezTo>
                  <a:cubicBezTo>
                    <a:pt x="2723" y="0"/>
                    <a:pt x="1749" y="938"/>
                    <a:pt x="567" y="3086"/>
                  </a:cubicBezTo>
                  <a:cubicBezTo>
                    <a:pt x="11" y="4074"/>
                    <a:pt x="-291" y="6198"/>
                    <a:pt x="405" y="7580"/>
                  </a:cubicBezTo>
                  <a:cubicBezTo>
                    <a:pt x="1912" y="8329"/>
                    <a:pt x="8100" y="8329"/>
                    <a:pt x="9607" y="7580"/>
                  </a:cubicBezTo>
                  <a:cubicBezTo>
                    <a:pt x="10279" y="6198"/>
                    <a:pt x="10001" y="4074"/>
                    <a:pt x="9445" y="3086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924" fontAlgn="base">
                <a:spcBef>
                  <a:spcPct val="0"/>
                </a:spcBef>
                <a:spcAft>
                  <a:spcPct val="0"/>
                </a:spcAft>
              </a:pPr>
              <a:endPara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sym typeface="Segoe UI" panose="020B0502040204020203" pitchFamily="34" charset="0"/>
              </a:endParaRP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896532" y="873214"/>
              <a:ext cx="201230" cy="369681"/>
              <a:chOff x="851065" y="755975"/>
              <a:chExt cx="287391" cy="527971"/>
            </a:xfrm>
            <a:grpFill/>
          </p:grpSpPr>
          <p:sp>
            <p:nvSpPr>
              <p:cNvPr id="117" name="Oval 116"/>
              <p:cNvSpPr>
                <a:spLocks noChangeArrowheads="1"/>
              </p:cNvSpPr>
              <p:nvPr/>
            </p:nvSpPr>
            <p:spPr bwMode="auto">
              <a:xfrm>
                <a:off x="930895" y="755975"/>
                <a:ext cx="194496" cy="195585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2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sym typeface="Segoe UI" panose="020B0502040204020203" pitchFamily="34" charset="0"/>
                </a:endParaRPr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851065" y="973695"/>
                <a:ext cx="287391" cy="310251"/>
              </a:xfrm>
              <a:custGeom>
                <a:avLst/>
                <a:gdLst>
                  <a:gd name="T0" fmla="*/ 239 w 335"/>
                  <a:gd name="T1" fmla="*/ 175 h 362"/>
                  <a:gd name="T2" fmla="*/ 335 w 335"/>
                  <a:gd name="T3" fmla="*/ 52 h 362"/>
                  <a:gd name="T4" fmla="*/ 278 w 335"/>
                  <a:gd name="T5" fmla="*/ 0 h 362"/>
                  <a:gd name="T6" fmla="*/ 208 w 335"/>
                  <a:gd name="T7" fmla="*/ 87 h 362"/>
                  <a:gd name="T8" fmla="*/ 199 w 335"/>
                  <a:gd name="T9" fmla="*/ 87 h 362"/>
                  <a:gd name="T10" fmla="*/ 130 w 335"/>
                  <a:gd name="T11" fmla="*/ 0 h 362"/>
                  <a:gd name="T12" fmla="*/ 33 w 335"/>
                  <a:gd name="T13" fmla="*/ 113 h 362"/>
                  <a:gd name="T14" fmla="*/ 27 w 335"/>
                  <a:gd name="T15" fmla="*/ 274 h 362"/>
                  <a:gd name="T16" fmla="*/ 197 w 335"/>
                  <a:gd name="T17" fmla="*/ 362 h 362"/>
                  <a:gd name="T18" fmla="*/ 211 w 335"/>
                  <a:gd name="T19" fmla="*/ 362 h 362"/>
                  <a:gd name="T20" fmla="*/ 221 w 335"/>
                  <a:gd name="T21" fmla="*/ 361 h 362"/>
                  <a:gd name="T22" fmla="*/ 239 w 335"/>
                  <a:gd name="T23" fmla="*/ 175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5" h="362">
                    <a:moveTo>
                      <a:pt x="239" y="175"/>
                    </a:moveTo>
                    <a:cubicBezTo>
                      <a:pt x="261" y="137"/>
                      <a:pt x="299" y="80"/>
                      <a:pt x="335" y="52"/>
                    </a:cubicBezTo>
                    <a:cubicBezTo>
                      <a:pt x="308" y="17"/>
                      <a:pt x="288" y="0"/>
                      <a:pt x="278" y="0"/>
                    </a:cubicBezTo>
                    <a:cubicBezTo>
                      <a:pt x="264" y="0"/>
                      <a:pt x="220" y="87"/>
                      <a:pt x="208" y="87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87" y="87"/>
                      <a:pt x="144" y="0"/>
                      <a:pt x="130" y="0"/>
                    </a:cubicBezTo>
                    <a:cubicBezTo>
                      <a:pt x="116" y="0"/>
                      <a:pt x="78" y="35"/>
                      <a:pt x="33" y="113"/>
                    </a:cubicBezTo>
                    <a:cubicBezTo>
                      <a:pt x="12" y="148"/>
                      <a:pt x="0" y="225"/>
                      <a:pt x="27" y="274"/>
                    </a:cubicBezTo>
                    <a:cubicBezTo>
                      <a:pt x="57" y="333"/>
                      <a:pt x="133" y="362"/>
                      <a:pt x="197" y="362"/>
                    </a:cubicBezTo>
                    <a:cubicBezTo>
                      <a:pt x="211" y="362"/>
                      <a:pt x="211" y="362"/>
                      <a:pt x="211" y="362"/>
                    </a:cubicBezTo>
                    <a:cubicBezTo>
                      <a:pt x="214" y="362"/>
                      <a:pt x="218" y="362"/>
                      <a:pt x="221" y="361"/>
                    </a:cubicBezTo>
                    <a:cubicBezTo>
                      <a:pt x="199" y="296"/>
                      <a:pt x="216" y="215"/>
                      <a:pt x="239" y="175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2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sym typeface="Segoe UI" panose="020B0502040204020203" pitchFamily="34" charset="0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 flipH="1">
              <a:off x="1379925" y="873214"/>
              <a:ext cx="201230" cy="369681"/>
              <a:chOff x="851065" y="755975"/>
              <a:chExt cx="287391" cy="527971"/>
            </a:xfrm>
            <a:grpFill/>
          </p:grpSpPr>
          <p:sp>
            <p:nvSpPr>
              <p:cNvPr id="115" name="Oval 114"/>
              <p:cNvSpPr>
                <a:spLocks noChangeArrowheads="1"/>
              </p:cNvSpPr>
              <p:nvPr/>
            </p:nvSpPr>
            <p:spPr bwMode="auto">
              <a:xfrm>
                <a:off x="930895" y="755975"/>
                <a:ext cx="194496" cy="195585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2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sym typeface="Segoe UI" panose="020B0502040204020203" pitchFamily="34" charset="0"/>
                </a:endParaRPr>
              </a:p>
            </p:txBody>
          </p:sp>
          <p:sp>
            <p:nvSpPr>
              <p:cNvPr id="116" name="Freeform 115"/>
              <p:cNvSpPr>
                <a:spLocks/>
              </p:cNvSpPr>
              <p:nvPr/>
            </p:nvSpPr>
            <p:spPr bwMode="auto">
              <a:xfrm>
                <a:off x="851065" y="973695"/>
                <a:ext cx="287391" cy="310251"/>
              </a:xfrm>
              <a:custGeom>
                <a:avLst/>
                <a:gdLst>
                  <a:gd name="T0" fmla="*/ 239 w 335"/>
                  <a:gd name="T1" fmla="*/ 175 h 362"/>
                  <a:gd name="T2" fmla="*/ 335 w 335"/>
                  <a:gd name="T3" fmla="*/ 52 h 362"/>
                  <a:gd name="T4" fmla="*/ 278 w 335"/>
                  <a:gd name="T5" fmla="*/ 0 h 362"/>
                  <a:gd name="T6" fmla="*/ 208 w 335"/>
                  <a:gd name="T7" fmla="*/ 87 h 362"/>
                  <a:gd name="T8" fmla="*/ 199 w 335"/>
                  <a:gd name="T9" fmla="*/ 87 h 362"/>
                  <a:gd name="T10" fmla="*/ 130 w 335"/>
                  <a:gd name="T11" fmla="*/ 0 h 362"/>
                  <a:gd name="T12" fmla="*/ 33 w 335"/>
                  <a:gd name="T13" fmla="*/ 113 h 362"/>
                  <a:gd name="T14" fmla="*/ 27 w 335"/>
                  <a:gd name="T15" fmla="*/ 274 h 362"/>
                  <a:gd name="T16" fmla="*/ 197 w 335"/>
                  <a:gd name="T17" fmla="*/ 362 h 362"/>
                  <a:gd name="T18" fmla="*/ 211 w 335"/>
                  <a:gd name="T19" fmla="*/ 362 h 362"/>
                  <a:gd name="T20" fmla="*/ 221 w 335"/>
                  <a:gd name="T21" fmla="*/ 361 h 362"/>
                  <a:gd name="T22" fmla="*/ 239 w 335"/>
                  <a:gd name="T23" fmla="*/ 175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5" h="362">
                    <a:moveTo>
                      <a:pt x="239" y="175"/>
                    </a:moveTo>
                    <a:cubicBezTo>
                      <a:pt x="261" y="137"/>
                      <a:pt x="299" y="80"/>
                      <a:pt x="335" y="52"/>
                    </a:cubicBezTo>
                    <a:cubicBezTo>
                      <a:pt x="308" y="17"/>
                      <a:pt x="288" y="0"/>
                      <a:pt x="278" y="0"/>
                    </a:cubicBezTo>
                    <a:cubicBezTo>
                      <a:pt x="264" y="0"/>
                      <a:pt x="220" y="87"/>
                      <a:pt x="208" y="87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87" y="87"/>
                      <a:pt x="144" y="0"/>
                      <a:pt x="130" y="0"/>
                    </a:cubicBezTo>
                    <a:cubicBezTo>
                      <a:pt x="116" y="0"/>
                      <a:pt x="78" y="35"/>
                      <a:pt x="33" y="113"/>
                    </a:cubicBezTo>
                    <a:cubicBezTo>
                      <a:pt x="12" y="148"/>
                      <a:pt x="0" y="225"/>
                      <a:pt x="27" y="274"/>
                    </a:cubicBezTo>
                    <a:cubicBezTo>
                      <a:pt x="57" y="333"/>
                      <a:pt x="133" y="362"/>
                      <a:pt x="197" y="362"/>
                    </a:cubicBezTo>
                    <a:cubicBezTo>
                      <a:pt x="211" y="362"/>
                      <a:pt x="211" y="362"/>
                      <a:pt x="211" y="362"/>
                    </a:cubicBezTo>
                    <a:cubicBezTo>
                      <a:pt x="214" y="362"/>
                      <a:pt x="218" y="362"/>
                      <a:pt x="221" y="361"/>
                    </a:cubicBezTo>
                    <a:cubicBezTo>
                      <a:pt x="199" y="296"/>
                      <a:pt x="216" y="215"/>
                      <a:pt x="239" y="175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92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7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sym typeface="Segoe UI" panose="020B0502040204020203" pitchFamily="34" charset="0"/>
                </a:endParaRPr>
              </a:p>
            </p:txBody>
          </p:sp>
        </p:grpSp>
      </p:grpSp>
      <p:grpSp>
        <p:nvGrpSpPr>
          <p:cNvPr id="85" name="Group 84"/>
          <p:cNvGrpSpPr/>
          <p:nvPr/>
        </p:nvGrpSpPr>
        <p:grpSpPr>
          <a:xfrm>
            <a:off x="5505990" y="2480362"/>
            <a:ext cx="476937" cy="881027"/>
            <a:chOff x="1691325" y="5357506"/>
            <a:chExt cx="378723" cy="699600"/>
          </a:xfrm>
          <a:solidFill>
            <a:srgbClr val="0074AF"/>
          </a:solidFill>
        </p:grpSpPr>
        <p:sp>
          <p:nvSpPr>
            <p:cNvPr id="87" name="Rectangle 86"/>
            <p:cNvSpPr/>
            <p:nvPr>
              <p:custDataLst>
                <p:tags r:id="rId7"/>
              </p:custDataLst>
            </p:nvPr>
          </p:nvSpPr>
          <p:spPr bwMode="auto">
            <a:xfrm>
              <a:off x="1691326" y="5397044"/>
              <a:ext cx="378722" cy="275634"/>
            </a:xfrm>
            <a:prstGeom prst="rect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txBody>
            <a:bodyPr vert="horz" wrap="none" lIns="91427" tIns="45713" rIns="91427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1899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0281" algn="l"/>
                </a:tabLst>
              </a:pPr>
              <a:r>
                <a:rPr lang="en-US" b="1" dirty="0">
                  <a:solidFill>
                    <a:srgbClr val="FFFFFF"/>
                  </a:solidFill>
                  <a:ea typeface="ＭＳ Ｐゴシック" pitchFamily="34" charset="-128"/>
                </a:rPr>
                <a:t>4</a:t>
              </a:r>
            </a:p>
          </p:txBody>
        </p:sp>
        <p:cxnSp>
          <p:nvCxnSpPr>
            <p:cNvPr id="88" name="Straight Connector 87"/>
            <p:cNvCxnSpPr/>
            <p:nvPr/>
          </p:nvCxnSpPr>
          <p:spPr>
            <a:xfrm flipV="1">
              <a:off x="1691325" y="5357506"/>
              <a:ext cx="0" cy="699600"/>
            </a:xfrm>
            <a:prstGeom prst="line">
              <a:avLst/>
            </a:prstGeom>
            <a:grpFill/>
            <a:ln>
              <a:solidFill>
                <a:srgbClr val="0074AF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Rectangle 85"/>
          <p:cNvSpPr/>
          <p:nvPr/>
        </p:nvSpPr>
        <p:spPr>
          <a:xfrm>
            <a:off x="6480852" y="2049918"/>
            <a:ext cx="1854912" cy="1359218"/>
          </a:xfrm>
          <a:prstGeom prst="rect">
            <a:avLst/>
          </a:prstGeom>
          <a:noFill/>
          <a:ln w="3175">
            <a:noFill/>
          </a:ln>
        </p:spPr>
        <p:txBody>
          <a:bodyPr wrap="square" lIns="0" rtlCol="0" anchor="t" anchorCtr="0">
            <a:spAutoFit/>
          </a:bodyPr>
          <a:lstStyle/>
          <a:p>
            <a:pPr defTabSz="914225"/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Scaled Down BOT Development Support </a:t>
            </a:r>
          </a:p>
          <a:p>
            <a:pPr marL="285750" indent="-285750" defTabSz="914225">
              <a:buFont typeface="Arial" panose="020B0604020202020204" pitchFamily="34" charset="0"/>
              <a:buChar char="•"/>
            </a:pPr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$10K / month for 3 months</a:t>
            </a:r>
          </a:p>
          <a:p>
            <a:pPr marL="285750" indent="-285750" defTabSz="914225">
              <a:buFont typeface="Arial" panose="020B0604020202020204" pitchFamily="34" charset="0"/>
              <a:buChar char="•"/>
            </a:pPr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Reduced training schedule</a:t>
            </a:r>
          </a:p>
        </p:txBody>
      </p:sp>
      <p:grpSp>
        <p:nvGrpSpPr>
          <p:cNvPr id="100" name="Group 99"/>
          <p:cNvGrpSpPr/>
          <p:nvPr/>
        </p:nvGrpSpPr>
        <p:grpSpPr>
          <a:xfrm>
            <a:off x="9399646" y="3106433"/>
            <a:ext cx="476936" cy="881028"/>
            <a:chOff x="1691325" y="5357506"/>
            <a:chExt cx="378723" cy="699600"/>
          </a:xfrm>
          <a:solidFill>
            <a:srgbClr val="0074AF"/>
          </a:solidFill>
        </p:grpSpPr>
        <p:sp>
          <p:nvSpPr>
            <p:cNvPr id="102" name="Rectangle 101"/>
            <p:cNvSpPr/>
            <p:nvPr>
              <p:custDataLst>
                <p:tags r:id="rId6"/>
              </p:custDataLst>
            </p:nvPr>
          </p:nvSpPr>
          <p:spPr bwMode="auto">
            <a:xfrm>
              <a:off x="1691326" y="5397044"/>
              <a:ext cx="378722" cy="275634"/>
            </a:xfrm>
            <a:prstGeom prst="rect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txBody>
            <a:bodyPr vert="horz" wrap="none" lIns="91427" tIns="45713" rIns="91427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1899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0281" algn="l"/>
                </a:tabLst>
              </a:pPr>
              <a:r>
                <a:rPr lang="en-US" b="1" dirty="0">
                  <a:solidFill>
                    <a:srgbClr val="FFFFFF"/>
                  </a:solidFill>
                  <a:ea typeface="ＭＳ Ｐゴシック" pitchFamily="34" charset="-128"/>
                </a:rPr>
                <a:t>6</a:t>
              </a:r>
            </a:p>
          </p:txBody>
        </p:sp>
        <p:cxnSp>
          <p:nvCxnSpPr>
            <p:cNvPr id="103" name="Straight Connector 102"/>
            <p:cNvCxnSpPr/>
            <p:nvPr/>
          </p:nvCxnSpPr>
          <p:spPr>
            <a:xfrm flipV="1">
              <a:off x="1691325" y="5357506"/>
              <a:ext cx="0" cy="699600"/>
            </a:xfrm>
            <a:prstGeom prst="line">
              <a:avLst/>
            </a:prstGeom>
            <a:grpFill/>
            <a:ln>
              <a:solidFill>
                <a:srgbClr val="0074AF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Rectangle 100"/>
          <p:cNvSpPr/>
          <p:nvPr/>
        </p:nvSpPr>
        <p:spPr>
          <a:xfrm>
            <a:off x="10047184" y="2669843"/>
            <a:ext cx="2151129" cy="1148071"/>
          </a:xfrm>
          <a:prstGeom prst="rect">
            <a:avLst/>
          </a:prstGeom>
          <a:noFill/>
          <a:ln w="3175">
            <a:noFill/>
          </a:ln>
        </p:spPr>
        <p:txBody>
          <a:bodyPr wrap="square" lIns="0" rtlCol="0" anchor="t" anchorCtr="0">
            <a:spAutoFit/>
          </a:bodyPr>
          <a:lstStyle/>
          <a:p>
            <a:pPr defTabSz="914225"/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Support Operationalization</a:t>
            </a:r>
          </a:p>
          <a:p>
            <a:pPr marL="285750" indent="-285750" defTabSz="914225">
              <a:buFont typeface="Arial" panose="020B0604020202020204" pitchFamily="34" charset="0"/>
              <a:buChar char="•"/>
            </a:pPr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$5k / Month</a:t>
            </a:r>
          </a:p>
          <a:p>
            <a:pPr marL="285750" indent="-285750" defTabSz="914225">
              <a:buFont typeface="Arial" panose="020B0604020202020204" pitchFamily="34" charset="0"/>
              <a:buChar char="•"/>
            </a:pPr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Continued training &amp; support for the BO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3" y="168739"/>
            <a:ext cx="11474263" cy="701632"/>
          </a:xfrm>
        </p:spPr>
        <p:txBody>
          <a:bodyPr/>
          <a:lstStyle/>
          <a:p>
            <a:r>
              <a:rPr lang="en-US" dirty="0"/>
              <a:t>Typical BOT Roadmap - Services</a:t>
            </a:r>
          </a:p>
        </p:txBody>
      </p:sp>
      <p:grpSp>
        <p:nvGrpSpPr>
          <p:cNvPr id="6" name="Group 5" hidden="1"/>
          <p:cNvGrpSpPr/>
          <p:nvPr/>
        </p:nvGrpSpPr>
        <p:grpSpPr>
          <a:xfrm>
            <a:off x="1610654" y="2082209"/>
            <a:ext cx="9895950" cy="5815653"/>
            <a:chOff x="1610018" y="2082018"/>
            <a:chExt cx="9897353" cy="5816478"/>
          </a:xfrm>
        </p:grpSpPr>
        <p:grpSp>
          <p:nvGrpSpPr>
            <p:cNvPr id="5" name="Group 4"/>
            <p:cNvGrpSpPr/>
            <p:nvPr/>
          </p:nvGrpSpPr>
          <p:grpSpPr>
            <a:xfrm>
              <a:off x="4906055" y="5844492"/>
              <a:ext cx="3981157" cy="2054004"/>
              <a:chOff x="4906055" y="5844492"/>
              <a:chExt cx="3981157" cy="2054004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214949" y="5844492"/>
                <a:ext cx="3268465" cy="1736847"/>
              </a:xfrm>
              <a:prstGeom prst="rect">
                <a:avLst/>
              </a:prstGeom>
            </p:spPr>
          </p:pic>
          <p:sp>
            <p:nvSpPr>
              <p:cNvPr id="25" name="Rectangle 24"/>
              <p:cNvSpPr/>
              <p:nvPr/>
            </p:nvSpPr>
            <p:spPr>
              <a:xfrm>
                <a:off x="5880295" y="6161649"/>
                <a:ext cx="970671" cy="1356310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6892872" y="6179845"/>
                <a:ext cx="970671" cy="1356310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7916541" y="7071921"/>
                <a:ext cx="970671" cy="464234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sz="1200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word Arca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4906055" y="7434262"/>
                <a:ext cx="970671" cy="464234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sz="1200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word Arca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1610018" y="2082018"/>
              <a:ext cx="9897353" cy="4923361"/>
              <a:chOff x="1610018" y="2082018"/>
              <a:chExt cx="9897353" cy="4923361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610018" y="4156733"/>
                <a:ext cx="3272130" cy="1770844"/>
              </a:xfrm>
              <a:prstGeom prst="rect">
                <a:avLst/>
              </a:prstGeom>
            </p:spPr>
          </p:pic>
          <p:sp>
            <p:nvSpPr>
              <p:cNvPr id="22" name="Rectangle 21"/>
              <p:cNvSpPr/>
              <p:nvPr/>
            </p:nvSpPr>
            <p:spPr>
              <a:xfrm>
                <a:off x="3332944" y="4514616"/>
                <a:ext cx="1308296" cy="1055077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out all text here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9439420" y="4825217"/>
                <a:ext cx="2067951" cy="1102359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Put a dollar sign and clock gif below this title</a:t>
                </a: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4811151" y="6166066"/>
                <a:ext cx="970671" cy="274906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811151" y="6730473"/>
                <a:ext cx="970671" cy="274906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91843" y="3208093"/>
                <a:ext cx="2257863" cy="1270048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596417" y="2171844"/>
                <a:ext cx="2281157" cy="1128106"/>
              </a:xfrm>
              <a:prstGeom prst="rect">
                <a:avLst/>
              </a:prstGeom>
            </p:spPr>
          </p:pic>
          <p:sp>
            <p:nvSpPr>
              <p:cNvPr id="33" name="Rectangle 32"/>
              <p:cNvSpPr/>
              <p:nvPr/>
            </p:nvSpPr>
            <p:spPr>
              <a:xfrm>
                <a:off x="6094413" y="2082018"/>
                <a:ext cx="1952307" cy="1477108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Improve slide 7 and replace this image3</a:t>
                </a: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866" y="1406753"/>
            <a:ext cx="12190271" cy="4988615"/>
            <a:chOff x="-9145" y="1247995"/>
            <a:chExt cx="12197969" cy="5628294"/>
          </a:xfrm>
        </p:grpSpPr>
        <p:sp>
          <p:nvSpPr>
            <p:cNvPr id="35" name="Freeform 34"/>
            <p:cNvSpPr/>
            <p:nvPr/>
          </p:nvSpPr>
          <p:spPr bwMode="auto">
            <a:xfrm flipH="1">
              <a:off x="-9144" y="1247995"/>
              <a:ext cx="12197968" cy="5628294"/>
            </a:xfrm>
            <a:custGeom>
              <a:avLst/>
              <a:gdLst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56832 w 9162288"/>
                <a:gd name="connsiteY2" fmla="*/ 557784 h 5404104"/>
                <a:gd name="connsiteX3" fmla="*/ 7735824 w 9162288"/>
                <a:gd name="connsiteY3" fmla="*/ 1234440 h 5404104"/>
                <a:gd name="connsiteX4" fmla="*/ 0 w 9162288"/>
                <a:gd name="connsiteY4" fmla="*/ 3273552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56832 w 9162288"/>
                <a:gd name="connsiteY2" fmla="*/ 557784 h 5404104"/>
                <a:gd name="connsiteX3" fmla="*/ 7735824 w 9162288"/>
                <a:gd name="connsiteY3" fmla="*/ 1234440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56832 w 9162288"/>
                <a:gd name="connsiteY2" fmla="*/ 557784 h 5404104"/>
                <a:gd name="connsiteX3" fmla="*/ 7735824 w 9162288"/>
                <a:gd name="connsiteY3" fmla="*/ 1234440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56832 w 9162288"/>
                <a:gd name="connsiteY2" fmla="*/ 557784 h 5404104"/>
                <a:gd name="connsiteX3" fmla="*/ 7251192 w 9162288"/>
                <a:gd name="connsiteY3" fmla="*/ 1545336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56832 w 9162288"/>
                <a:gd name="connsiteY2" fmla="*/ 557784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1353312 w 9162288"/>
                <a:gd name="connsiteY7" fmla="*/ 4517136 h 5404104"/>
                <a:gd name="connsiteX8" fmla="*/ 9153144 w 9162288"/>
                <a:gd name="connsiteY8" fmla="*/ 1819656 h 5404104"/>
                <a:gd name="connsiteX9" fmla="*/ 9162288 w 9162288"/>
                <a:gd name="connsiteY9" fmla="*/ 1106424 h 5404104"/>
                <a:gd name="connsiteX10" fmla="*/ 7808976 w 9162288"/>
                <a:gd name="connsiteY10" fmla="*/ 603504 h 5404104"/>
                <a:gd name="connsiteX11" fmla="*/ 9153144 w 9162288"/>
                <a:gd name="connsiteY11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9153144 w 9162288"/>
                <a:gd name="connsiteY7" fmla="*/ 1819656 h 5404104"/>
                <a:gd name="connsiteX8" fmla="*/ 9162288 w 9162288"/>
                <a:gd name="connsiteY8" fmla="*/ 1106424 h 5404104"/>
                <a:gd name="connsiteX9" fmla="*/ 7808976 w 9162288"/>
                <a:gd name="connsiteY9" fmla="*/ 603504 h 5404104"/>
                <a:gd name="connsiteX10" fmla="*/ 9153144 w 9162288"/>
                <a:gd name="connsiteY10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9153144 w 9162288"/>
                <a:gd name="connsiteY7" fmla="*/ 1819656 h 5404104"/>
                <a:gd name="connsiteX8" fmla="*/ 9162288 w 9162288"/>
                <a:gd name="connsiteY8" fmla="*/ 1106424 h 5404104"/>
                <a:gd name="connsiteX9" fmla="*/ 7808976 w 9162288"/>
                <a:gd name="connsiteY9" fmla="*/ 603504 h 5404104"/>
                <a:gd name="connsiteX10" fmla="*/ 9153144 w 9162288"/>
                <a:gd name="connsiteY10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9153144 w 9162288"/>
                <a:gd name="connsiteY7" fmla="*/ 1819656 h 5404104"/>
                <a:gd name="connsiteX8" fmla="*/ 9162288 w 9162288"/>
                <a:gd name="connsiteY8" fmla="*/ 1106424 h 5404104"/>
                <a:gd name="connsiteX9" fmla="*/ 7808976 w 9162288"/>
                <a:gd name="connsiteY9" fmla="*/ 603504 h 5404104"/>
                <a:gd name="connsiteX10" fmla="*/ 9153144 w 9162288"/>
                <a:gd name="connsiteY10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9153144 w 9162288"/>
                <a:gd name="connsiteY7" fmla="*/ 1819656 h 5404104"/>
                <a:gd name="connsiteX8" fmla="*/ 9162288 w 9162288"/>
                <a:gd name="connsiteY8" fmla="*/ 1106424 h 5404104"/>
                <a:gd name="connsiteX9" fmla="*/ 7808976 w 9162288"/>
                <a:gd name="connsiteY9" fmla="*/ 603504 h 5404104"/>
                <a:gd name="connsiteX10" fmla="*/ 9153144 w 9162288"/>
                <a:gd name="connsiteY10" fmla="*/ 256032 h 5404104"/>
                <a:gd name="connsiteX0" fmla="*/ 9153144 w 9162288"/>
                <a:gd name="connsiteY0" fmla="*/ 256032 h 5404104"/>
                <a:gd name="connsiteX1" fmla="*/ 9153144 w 9162288"/>
                <a:gd name="connsiteY1" fmla="*/ 0 h 5404104"/>
                <a:gd name="connsiteX2" fmla="*/ 6611112 w 9162288"/>
                <a:gd name="connsiteY2" fmla="*/ 630936 h 5404104"/>
                <a:gd name="connsiteX3" fmla="*/ 7315200 w 9162288"/>
                <a:gd name="connsiteY3" fmla="*/ 1517904 h 5404104"/>
                <a:gd name="connsiteX4" fmla="*/ 0 w 9162288"/>
                <a:gd name="connsiteY4" fmla="*/ 3300984 h 5404104"/>
                <a:gd name="connsiteX5" fmla="*/ 0 w 9162288"/>
                <a:gd name="connsiteY5" fmla="*/ 5404104 h 5404104"/>
                <a:gd name="connsiteX6" fmla="*/ 886968 w 9162288"/>
                <a:gd name="connsiteY6" fmla="*/ 5404104 h 5404104"/>
                <a:gd name="connsiteX7" fmla="*/ 9160302 w 9162288"/>
                <a:gd name="connsiteY7" fmla="*/ 1829973 h 5404104"/>
                <a:gd name="connsiteX8" fmla="*/ 9162288 w 9162288"/>
                <a:gd name="connsiteY8" fmla="*/ 1106424 h 5404104"/>
                <a:gd name="connsiteX9" fmla="*/ 7808976 w 9162288"/>
                <a:gd name="connsiteY9" fmla="*/ 603504 h 5404104"/>
                <a:gd name="connsiteX10" fmla="*/ 9153144 w 9162288"/>
                <a:gd name="connsiteY10" fmla="*/ 256032 h 5404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62288" h="5404104">
                  <a:moveTo>
                    <a:pt x="9153144" y="256032"/>
                  </a:moveTo>
                  <a:lnTo>
                    <a:pt x="9153144" y="0"/>
                  </a:lnTo>
                  <a:cubicBezTo>
                    <a:pt x="8729472" y="62484"/>
                    <a:pt x="6288024" y="313944"/>
                    <a:pt x="6611112" y="630936"/>
                  </a:cubicBezTo>
                  <a:cubicBezTo>
                    <a:pt x="6934200" y="947928"/>
                    <a:pt x="8417052" y="1072896"/>
                    <a:pt x="7315200" y="1517904"/>
                  </a:cubicBezTo>
                  <a:cubicBezTo>
                    <a:pt x="6149340" y="1871472"/>
                    <a:pt x="2551176" y="2438400"/>
                    <a:pt x="0" y="3300984"/>
                  </a:cubicBezTo>
                  <a:lnTo>
                    <a:pt x="0" y="5404104"/>
                  </a:lnTo>
                  <a:lnTo>
                    <a:pt x="886968" y="5404104"/>
                  </a:lnTo>
                  <a:cubicBezTo>
                    <a:pt x="1187196" y="3444240"/>
                    <a:pt x="7781082" y="2546253"/>
                    <a:pt x="9160302" y="1829973"/>
                  </a:cubicBezTo>
                  <a:cubicBezTo>
                    <a:pt x="9163350" y="1592229"/>
                    <a:pt x="9159240" y="1344168"/>
                    <a:pt x="9162288" y="1106424"/>
                  </a:cubicBezTo>
                  <a:cubicBezTo>
                    <a:pt x="8938260" y="903732"/>
                    <a:pt x="7810500" y="745236"/>
                    <a:pt x="7808976" y="603504"/>
                  </a:cubicBezTo>
                  <a:cubicBezTo>
                    <a:pt x="7807452" y="461772"/>
                    <a:pt x="8929116" y="356616"/>
                    <a:pt x="9153144" y="25603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22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 flipH="1">
              <a:off x="-9145" y="1371798"/>
              <a:ext cx="12190486" cy="4848968"/>
            </a:xfrm>
            <a:custGeom>
              <a:avLst/>
              <a:gdLst>
                <a:gd name="connsiteX0" fmla="*/ 0 w 9153144"/>
                <a:gd name="connsiteY0" fmla="*/ 4096512 h 4096512"/>
                <a:gd name="connsiteX1" fmla="*/ 484632 w 9153144"/>
                <a:gd name="connsiteY1" fmla="*/ 3666744 h 4096512"/>
                <a:gd name="connsiteX2" fmla="*/ 8604504 w 9153144"/>
                <a:gd name="connsiteY2" fmla="*/ 1207008 h 4096512"/>
                <a:gd name="connsiteX3" fmla="*/ 7232904 w 9153144"/>
                <a:gd name="connsiteY3" fmla="*/ 484632 h 4096512"/>
                <a:gd name="connsiteX4" fmla="*/ 9153144 w 9153144"/>
                <a:gd name="connsiteY4" fmla="*/ 0 h 4096512"/>
                <a:gd name="connsiteX5" fmla="*/ 9153144 w 9153144"/>
                <a:gd name="connsiteY5" fmla="*/ 0 h 4096512"/>
                <a:gd name="connsiteX0" fmla="*/ 259015 w 9412159"/>
                <a:gd name="connsiteY0" fmla="*/ 4096512 h 4096512"/>
                <a:gd name="connsiteX1" fmla="*/ 743647 w 9412159"/>
                <a:gd name="connsiteY1" fmla="*/ 3666744 h 4096512"/>
                <a:gd name="connsiteX2" fmla="*/ 8863519 w 9412159"/>
                <a:gd name="connsiteY2" fmla="*/ 1207008 h 4096512"/>
                <a:gd name="connsiteX3" fmla="*/ 7491919 w 9412159"/>
                <a:gd name="connsiteY3" fmla="*/ 484632 h 4096512"/>
                <a:gd name="connsiteX4" fmla="*/ 9412159 w 9412159"/>
                <a:gd name="connsiteY4" fmla="*/ 0 h 4096512"/>
                <a:gd name="connsiteX5" fmla="*/ 9412159 w 9412159"/>
                <a:gd name="connsiteY5" fmla="*/ 0 h 4096512"/>
                <a:gd name="connsiteX0" fmla="*/ 0 w 9153144"/>
                <a:gd name="connsiteY0" fmla="*/ 4096512 h 4096512"/>
                <a:gd name="connsiteX1" fmla="*/ 484632 w 9153144"/>
                <a:gd name="connsiteY1" fmla="*/ 3666744 h 4096512"/>
                <a:gd name="connsiteX2" fmla="*/ 8604504 w 9153144"/>
                <a:gd name="connsiteY2" fmla="*/ 1207008 h 4096512"/>
                <a:gd name="connsiteX3" fmla="*/ 7232904 w 9153144"/>
                <a:gd name="connsiteY3" fmla="*/ 484632 h 4096512"/>
                <a:gd name="connsiteX4" fmla="*/ 9153144 w 9153144"/>
                <a:gd name="connsiteY4" fmla="*/ 0 h 4096512"/>
                <a:gd name="connsiteX5" fmla="*/ 9153144 w 9153144"/>
                <a:gd name="connsiteY5" fmla="*/ 0 h 409651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9162288"/>
                <a:gd name="connsiteY0" fmla="*/ 4005072 h 4005072"/>
                <a:gd name="connsiteX1" fmla="*/ 493776 w 9162288"/>
                <a:gd name="connsiteY1" fmla="*/ 3666744 h 4005072"/>
                <a:gd name="connsiteX2" fmla="*/ 8613648 w 9162288"/>
                <a:gd name="connsiteY2" fmla="*/ 1207008 h 4005072"/>
                <a:gd name="connsiteX3" fmla="*/ 7242048 w 9162288"/>
                <a:gd name="connsiteY3" fmla="*/ 484632 h 4005072"/>
                <a:gd name="connsiteX4" fmla="*/ 9162288 w 9162288"/>
                <a:gd name="connsiteY4" fmla="*/ 0 h 4005072"/>
                <a:gd name="connsiteX5" fmla="*/ 9162288 w 9162288"/>
                <a:gd name="connsiteY5" fmla="*/ 0 h 4005072"/>
                <a:gd name="connsiteX0" fmla="*/ 0 w 8668512"/>
                <a:gd name="connsiteY0" fmla="*/ 3666744 h 3666744"/>
                <a:gd name="connsiteX1" fmla="*/ 8119872 w 8668512"/>
                <a:gd name="connsiteY1" fmla="*/ 1207008 h 3666744"/>
                <a:gd name="connsiteX2" fmla="*/ 6748272 w 8668512"/>
                <a:gd name="connsiteY2" fmla="*/ 484632 h 3666744"/>
                <a:gd name="connsiteX3" fmla="*/ 8668512 w 8668512"/>
                <a:gd name="connsiteY3" fmla="*/ 0 h 3666744"/>
                <a:gd name="connsiteX4" fmla="*/ 8668512 w 8668512"/>
                <a:gd name="connsiteY4" fmla="*/ 0 h 3666744"/>
                <a:gd name="connsiteX0" fmla="*/ 0 w 9125712"/>
                <a:gd name="connsiteY0" fmla="*/ 3931920 h 3931920"/>
                <a:gd name="connsiteX1" fmla="*/ 8577072 w 9125712"/>
                <a:gd name="connsiteY1" fmla="*/ 1207008 h 3931920"/>
                <a:gd name="connsiteX2" fmla="*/ 7205472 w 9125712"/>
                <a:gd name="connsiteY2" fmla="*/ 484632 h 3931920"/>
                <a:gd name="connsiteX3" fmla="*/ 9125712 w 9125712"/>
                <a:gd name="connsiteY3" fmla="*/ 0 h 3931920"/>
                <a:gd name="connsiteX4" fmla="*/ 9125712 w 9125712"/>
                <a:gd name="connsiteY4" fmla="*/ 0 h 3931920"/>
                <a:gd name="connsiteX0" fmla="*/ 0 w 9125712"/>
                <a:gd name="connsiteY0" fmla="*/ 3931920 h 3931920"/>
                <a:gd name="connsiteX1" fmla="*/ 8577072 w 9125712"/>
                <a:gd name="connsiteY1" fmla="*/ 1207008 h 3931920"/>
                <a:gd name="connsiteX2" fmla="*/ 7205472 w 9125712"/>
                <a:gd name="connsiteY2" fmla="*/ 484632 h 3931920"/>
                <a:gd name="connsiteX3" fmla="*/ 9125712 w 9125712"/>
                <a:gd name="connsiteY3" fmla="*/ 0 h 3931920"/>
                <a:gd name="connsiteX4" fmla="*/ 9125712 w 9125712"/>
                <a:gd name="connsiteY4" fmla="*/ 0 h 3931920"/>
                <a:gd name="connsiteX0" fmla="*/ 0 w 9125712"/>
                <a:gd name="connsiteY0" fmla="*/ 3931920 h 3931920"/>
                <a:gd name="connsiteX1" fmla="*/ 8732520 w 9125712"/>
                <a:gd name="connsiteY1" fmla="*/ 1234440 h 3931920"/>
                <a:gd name="connsiteX2" fmla="*/ 7205472 w 9125712"/>
                <a:gd name="connsiteY2" fmla="*/ 484632 h 3931920"/>
                <a:gd name="connsiteX3" fmla="*/ 9125712 w 9125712"/>
                <a:gd name="connsiteY3" fmla="*/ 0 h 3931920"/>
                <a:gd name="connsiteX4" fmla="*/ 9125712 w 9125712"/>
                <a:gd name="connsiteY4" fmla="*/ 0 h 3931920"/>
                <a:gd name="connsiteX0" fmla="*/ 0 w 9125712"/>
                <a:gd name="connsiteY0" fmla="*/ 3931920 h 3931920"/>
                <a:gd name="connsiteX1" fmla="*/ 8732520 w 9125712"/>
                <a:gd name="connsiteY1" fmla="*/ 1234440 h 3931920"/>
                <a:gd name="connsiteX2" fmla="*/ 7205472 w 9125712"/>
                <a:gd name="connsiteY2" fmla="*/ 530352 h 3931920"/>
                <a:gd name="connsiteX3" fmla="*/ 9125712 w 9125712"/>
                <a:gd name="connsiteY3" fmla="*/ 0 h 3931920"/>
                <a:gd name="connsiteX4" fmla="*/ 9125712 w 9125712"/>
                <a:gd name="connsiteY4" fmla="*/ 0 h 3931920"/>
                <a:gd name="connsiteX0" fmla="*/ 0 w 9125712"/>
                <a:gd name="connsiteY0" fmla="*/ 3931920 h 3931920"/>
                <a:gd name="connsiteX1" fmla="*/ 8732520 w 9125712"/>
                <a:gd name="connsiteY1" fmla="*/ 1234440 h 3931920"/>
                <a:gd name="connsiteX2" fmla="*/ 7205472 w 9125712"/>
                <a:gd name="connsiteY2" fmla="*/ 530352 h 3931920"/>
                <a:gd name="connsiteX3" fmla="*/ 9125712 w 9125712"/>
                <a:gd name="connsiteY3" fmla="*/ 0 h 3931920"/>
                <a:gd name="connsiteX4" fmla="*/ 9125712 w 9125712"/>
                <a:gd name="connsiteY4" fmla="*/ 0 h 3931920"/>
                <a:gd name="connsiteX0" fmla="*/ 0 w 9125712"/>
                <a:gd name="connsiteY0" fmla="*/ 3931920 h 3931920"/>
                <a:gd name="connsiteX1" fmla="*/ 8732520 w 9125712"/>
                <a:gd name="connsiteY1" fmla="*/ 1234440 h 3931920"/>
                <a:gd name="connsiteX2" fmla="*/ 7205472 w 9125712"/>
                <a:gd name="connsiteY2" fmla="*/ 530352 h 3931920"/>
                <a:gd name="connsiteX3" fmla="*/ 9125712 w 9125712"/>
                <a:gd name="connsiteY3" fmla="*/ 0 h 3931920"/>
                <a:gd name="connsiteX4" fmla="*/ 9125712 w 9125712"/>
                <a:gd name="connsiteY4" fmla="*/ 0 h 3931920"/>
                <a:gd name="connsiteX0" fmla="*/ 0 w 9163812"/>
                <a:gd name="connsiteY0" fmla="*/ 4512945 h 4512945"/>
                <a:gd name="connsiteX1" fmla="*/ 8770620 w 9163812"/>
                <a:gd name="connsiteY1" fmla="*/ 1234440 h 4512945"/>
                <a:gd name="connsiteX2" fmla="*/ 7243572 w 9163812"/>
                <a:gd name="connsiteY2" fmla="*/ 530352 h 4512945"/>
                <a:gd name="connsiteX3" fmla="*/ 9163812 w 9163812"/>
                <a:gd name="connsiteY3" fmla="*/ 0 h 4512945"/>
                <a:gd name="connsiteX4" fmla="*/ 9163812 w 9163812"/>
                <a:gd name="connsiteY4" fmla="*/ 0 h 4512945"/>
                <a:gd name="connsiteX0" fmla="*/ 0 w 9163812"/>
                <a:gd name="connsiteY0" fmla="*/ 4893945 h 4893945"/>
                <a:gd name="connsiteX1" fmla="*/ 8770620 w 9163812"/>
                <a:gd name="connsiteY1" fmla="*/ 1234440 h 4893945"/>
                <a:gd name="connsiteX2" fmla="*/ 7243572 w 9163812"/>
                <a:gd name="connsiteY2" fmla="*/ 530352 h 4893945"/>
                <a:gd name="connsiteX3" fmla="*/ 9163812 w 9163812"/>
                <a:gd name="connsiteY3" fmla="*/ 0 h 4893945"/>
                <a:gd name="connsiteX4" fmla="*/ 9163812 w 9163812"/>
                <a:gd name="connsiteY4" fmla="*/ 0 h 4893945"/>
                <a:gd name="connsiteX0" fmla="*/ 0 w 9163812"/>
                <a:gd name="connsiteY0" fmla="*/ 4893945 h 4893945"/>
                <a:gd name="connsiteX1" fmla="*/ 8770620 w 9163812"/>
                <a:gd name="connsiteY1" fmla="*/ 1234440 h 4893945"/>
                <a:gd name="connsiteX2" fmla="*/ 7243572 w 9163812"/>
                <a:gd name="connsiteY2" fmla="*/ 530352 h 4893945"/>
                <a:gd name="connsiteX3" fmla="*/ 9163812 w 9163812"/>
                <a:gd name="connsiteY3" fmla="*/ 0 h 4893945"/>
                <a:gd name="connsiteX4" fmla="*/ 9163812 w 9163812"/>
                <a:gd name="connsiteY4" fmla="*/ 0 h 4893945"/>
                <a:gd name="connsiteX0" fmla="*/ 0 w 9182862"/>
                <a:gd name="connsiteY0" fmla="*/ 4665345 h 4665345"/>
                <a:gd name="connsiteX1" fmla="*/ 8789670 w 9182862"/>
                <a:gd name="connsiteY1" fmla="*/ 1234440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789670 w 9182862"/>
                <a:gd name="connsiteY1" fmla="*/ 1234440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789670 w 9182862"/>
                <a:gd name="connsiteY1" fmla="*/ 1234440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665845 w 9182862"/>
                <a:gd name="connsiteY1" fmla="*/ 1339215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665845 w 9182862"/>
                <a:gd name="connsiteY1" fmla="*/ 1339215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665845 w 9182862"/>
                <a:gd name="connsiteY1" fmla="*/ 1339215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526145 w 9182862"/>
                <a:gd name="connsiteY1" fmla="*/ 1275715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82862"/>
                <a:gd name="connsiteY0" fmla="*/ 4665345 h 4665345"/>
                <a:gd name="connsiteX1" fmla="*/ 8602345 w 9182862"/>
                <a:gd name="connsiteY1" fmla="*/ 1275715 h 4665345"/>
                <a:gd name="connsiteX2" fmla="*/ 7262622 w 9182862"/>
                <a:gd name="connsiteY2" fmla="*/ 530352 h 4665345"/>
                <a:gd name="connsiteX3" fmla="*/ 9182862 w 9182862"/>
                <a:gd name="connsiteY3" fmla="*/ 0 h 4665345"/>
                <a:gd name="connsiteX4" fmla="*/ 9182862 w 9182862"/>
                <a:gd name="connsiteY4" fmla="*/ 0 h 4665345"/>
                <a:gd name="connsiteX0" fmla="*/ 0 w 9166193"/>
                <a:gd name="connsiteY0" fmla="*/ 4658201 h 4658201"/>
                <a:gd name="connsiteX1" fmla="*/ 8585676 w 9166193"/>
                <a:gd name="connsiteY1" fmla="*/ 1275715 h 4658201"/>
                <a:gd name="connsiteX2" fmla="*/ 7245953 w 9166193"/>
                <a:gd name="connsiteY2" fmla="*/ 530352 h 4658201"/>
                <a:gd name="connsiteX3" fmla="*/ 9166193 w 9166193"/>
                <a:gd name="connsiteY3" fmla="*/ 0 h 4658201"/>
                <a:gd name="connsiteX4" fmla="*/ 9166193 w 9166193"/>
                <a:gd name="connsiteY4" fmla="*/ 0 h 4658201"/>
                <a:gd name="connsiteX0" fmla="*/ 0 w 9156668"/>
                <a:gd name="connsiteY0" fmla="*/ 4655820 h 4655820"/>
                <a:gd name="connsiteX1" fmla="*/ 8576151 w 9156668"/>
                <a:gd name="connsiteY1" fmla="*/ 1275715 h 4655820"/>
                <a:gd name="connsiteX2" fmla="*/ 7236428 w 9156668"/>
                <a:gd name="connsiteY2" fmla="*/ 530352 h 4655820"/>
                <a:gd name="connsiteX3" fmla="*/ 9156668 w 9156668"/>
                <a:gd name="connsiteY3" fmla="*/ 0 h 4655820"/>
                <a:gd name="connsiteX4" fmla="*/ 9156668 w 9156668"/>
                <a:gd name="connsiteY4" fmla="*/ 0 h 4655820"/>
                <a:gd name="connsiteX0" fmla="*/ 0 w 9156668"/>
                <a:gd name="connsiteY0" fmla="*/ 4655820 h 4655820"/>
                <a:gd name="connsiteX1" fmla="*/ 8576151 w 9156668"/>
                <a:gd name="connsiteY1" fmla="*/ 1275715 h 4655820"/>
                <a:gd name="connsiteX2" fmla="*/ 7236428 w 9156668"/>
                <a:gd name="connsiteY2" fmla="*/ 530352 h 4655820"/>
                <a:gd name="connsiteX3" fmla="*/ 9156668 w 9156668"/>
                <a:gd name="connsiteY3" fmla="*/ 0 h 4655820"/>
                <a:gd name="connsiteX4" fmla="*/ 9156668 w 9156668"/>
                <a:gd name="connsiteY4" fmla="*/ 0 h 465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668" h="4655820">
                  <a:moveTo>
                    <a:pt x="0" y="4655820"/>
                  </a:moveTo>
                  <a:cubicBezTo>
                    <a:pt x="904113" y="2638044"/>
                    <a:pt x="7537164" y="2164906"/>
                    <a:pt x="8576151" y="1275715"/>
                  </a:cubicBezTo>
                  <a:cubicBezTo>
                    <a:pt x="8643588" y="919924"/>
                    <a:pt x="7693628" y="771144"/>
                    <a:pt x="7236428" y="530352"/>
                  </a:cubicBezTo>
                  <a:cubicBezTo>
                    <a:pt x="6916388" y="271272"/>
                    <a:pt x="8836628" y="88392"/>
                    <a:pt x="9156668" y="0"/>
                  </a:cubicBezTo>
                  <a:lnTo>
                    <a:pt x="9156668" y="0"/>
                  </a:lnTo>
                </a:path>
              </a:pathLst>
            </a:custGeom>
            <a:noFill/>
            <a:ln w="2857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7" tIns="45713" rIns="91427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422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114404" y="953516"/>
            <a:ext cx="744150" cy="587731"/>
            <a:chOff x="201366" y="972757"/>
            <a:chExt cx="759072" cy="599516"/>
          </a:xfrm>
        </p:grpSpPr>
        <p:sp>
          <p:nvSpPr>
            <p:cNvPr id="68" name="Rectangle 67"/>
            <p:cNvSpPr/>
            <p:nvPr/>
          </p:nvSpPr>
          <p:spPr>
            <a:xfrm flipH="1">
              <a:off x="557336" y="1286311"/>
              <a:ext cx="47132" cy="274320"/>
            </a:xfrm>
            <a:prstGeom prst="rect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25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201366" y="972757"/>
              <a:ext cx="759072" cy="336931"/>
              <a:chOff x="89930" y="972757"/>
              <a:chExt cx="981943" cy="260327"/>
            </a:xfrm>
          </p:grpSpPr>
          <p:sp>
            <p:nvSpPr>
              <p:cNvPr id="69" name="Rounded Rectangle 68"/>
              <p:cNvSpPr/>
              <p:nvPr/>
            </p:nvSpPr>
            <p:spPr>
              <a:xfrm flipH="1">
                <a:off x="89930" y="972757"/>
                <a:ext cx="981943" cy="260327"/>
              </a:xfrm>
              <a:prstGeom prst="roundRect">
                <a:avLst>
                  <a:gd name="adj" fmla="val 7143"/>
                </a:avLst>
              </a:prstGeom>
              <a:solidFill>
                <a:schemeClr val="bg2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25">
                  <a:defRPr/>
                </a:pPr>
                <a:endParaRPr lang="en-US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Rounded Rectangle 69"/>
              <p:cNvSpPr/>
              <p:nvPr/>
            </p:nvSpPr>
            <p:spPr>
              <a:xfrm flipH="1">
                <a:off x="123322" y="998832"/>
                <a:ext cx="915159" cy="208176"/>
              </a:xfrm>
              <a:prstGeom prst="roundRect">
                <a:avLst>
                  <a:gd name="adj" fmla="val 7143"/>
                </a:avLst>
              </a:prstGeom>
              <a:solidFill>
                <a:schemeClr val="bg2"/>
              </a:solidFill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wrap="none" lIns="45713" rIns="45713" rtlCol="0" anchor="ctr"/>
              <a:lstStyle/>
              <a:p>
                <a:pPr algn="ctr" defTabSz="914225">
                  <a:defRPr/>
                </a:pPr>
                <a:r>
                  <a:rPr lang="en-US" sz="1050" b="1" kern="0" dirty="0">
                    <a:solidFill>
                      <a:srgbClr val="FFFFFF"/>
                    </a:solidFill>
                  </a:rPr>
                  <a:t>START</a:t>
                </a:r>
              </a:p>
            </p:txBody>
          </p:sp>
        </p:grpSp>
        <p:sp>
          <p:nvSpPr>
            <p:cNvPr id="71" name="Oval 70"/>
            <p:cNvSpPr/>
            <p:nvPr/>
          </p:nvSpPr>
          <p:spPr>
            <a:xfrm flipH="1">
              <a:off x="353735" y="1546886"/>
              <a:ext cx="454334" cy="25387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45713" tIns="45713" rIns="45713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25">
                <a:defRPr/>
              </a:pPr>
              <a:endParaRPr lang="en-US" sz="1050" kern="0">
                <a:solidFill>
                  <a:srgbClr val="FFFFFF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378055" y="2329559"/>
            <a:ext cx="476936" cy="1142209"/>
            <a:chOff x="1691325" y="5357507"/>
            <a:chExt cx="378723" cy="906998"/>
          </a:xfrm>
          <a:solidFill>
            <a:srgbClr val="0074AF"/>
          </a:solidFill>
        </p:grpSpPr>
        <p:sp>
          <p:nvSpPr>
            <p:cNvPr id="77" name="Rectangle 76"/>
            <p:cNvSpPr/>
            <p:nvPr>
              <p:custDataLst>
                <p:tags r:id="rId5"/>
              </p:custDataLst>
            </p:nvPr>
          </p:nvSpPr>
          <p:spPr bwMode="auto">
            <a:xfrm>
              <a:off x="1691326" y="5397044"/>
              <a:ext cx="378722" cy="275634"/>
            </a:xfrm>
            <a:prstGeom prst="rect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txBody>
            <a:bodyPr vert="horz" wrap="none" lIns="91427" tIns="45713" rIns="91427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1899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0281" algn="l"/>
                </a:tabLst>
              </a:pPr>
              <a:r>
                <a:rPr lang="en-US" b="1" dirty="0">
                  <a:solidFill>
                    <a:srgbClr val="FFFFFF"/>
                  </a:solidFill>
                  <a:ea typeface="ＭＳ Ｐゴシック" pitchFamily="34" charset="-128"/>
                </a:rPr>
                <a:t>2</a:t>
              </a:r>
            </a:p>
          </p:txBody>
        </p:sp>
        <p:cxnSp>
          <p:nvCxnSpPr>
            <p:cNvPr id="78" name="Straight Connector 77"/>
            <p:cNvCxnSpPr/>
            <p:nvPr/>
          </p:nvCxnSpPr>
          <p:spPr>
            <a:xfrm flipH="1" flipV="1">
              <a:off x="1691325" y="5357507"/>
              <a:ext cx="1" cy="906998"/>
            </a:xfrm>
            <a:prstGeom prst="line">
              <a:avLst/>
            </a:prstGeom>
            <a:grpFill/>
            <a:ln>
              <a:solidFill>
                <a:srgbClr val="0074AF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Rectangle 75"/>
          <p:cNvSpPr/>
          <p:nvPr/>
        </p:nvSpPr>
        <p:spPr>
          <a:xfrm>
            <a:off x="378736" y="3552314"/>
            <a:ext cx="2042485" cy="1570366"/>
          </a:xfrm>
          <a:prstGeom prst="rect">
            <a:avLst/>
          </a:prstGeom>
          <a:noFill/>
          <a:ln w="3175">
            <a:noFill/>
          </a:ln>
        </p:spPr>
        <p:txBody>
          <a:bodyPr wrap="square" lIns="0" rtlCol="0" anchor="t" anchorCtr="0">
            <a:spAutoFit/>
          </a:bodyPr>
          <a:lstStyle/>
          <a:p>
            <a:pPr defTabSz="914225"/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POC BOT Engagement</a:t>
            </a:r>
          </a:p>
          <a:p>
            <a:pPr marL="285750" indent="-285750" defTabSz="914225">
              <a:buFontTx/>
              <a:buChar char="-"/>
            </a:pPr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$40K-$80K,</a:t>
            </a:r>
          </a:p>
          <a:p>
            <a:pPr marL="285750" indent="-285750" defTabSz="914225">
              <a:buFontTx/>
              <a:buChar char="-"/>
            </a:pPr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 2 month long engagement designed to produce minimum viable product 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70955" y="3456025"/>
            <a:ext cx="235425" cy="335546"/>
            <a:chOff x="5823447" y="3040538"/>
            <a:chExt cx="545105" cy="776924"/>
          </a:xfrm>
          <a:solidFill>
            <a:srgbClr val="0074AF"/>
          </a:solidFill>
        </p:grpSpPr>
        <p:sp>
          <p:nvSpPr>
            <p:cNvPr id="119" name="Oval 118"/>
            <p:cNvSpPr>
              <a:spLocks noChangeArrowheads="1"/>
            </p:cNvSpPr>
            <p:nvPr/>
          </p:nvSpPr>
          <p:spPr bwMode="auto">
            <a:xfrm>
              <a:off x="5939204" y="3040538"/>
              <a:ext cx="322051" cy="322586"/>
            </a:xfrm>
            <a:prstGeom prst="ellipse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924" fontAlgn="base">
                <a:spcBef>
                  <a:spcPct val="0"/>
                </a:spcBef>
                <a:spcAft>
                  <a:spcPct val="0"/>
                </a:spcAft>
              </a:pPr>
              <a:endPara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sym typeface="Segoe UI" panose="020B0502040204020203" pitchFamily="34" charset="0"/>
              </a:endParaRPr>
            </a:p>
          </p:txBody>
        </p:sp>
        <p:sp>
          <p:nvSpPr>
            <p:cNvPr id="120" name="Freeform 119"/>
            <p:cNvSpPr>
              <a:spLocks/>
            </p:cNvSpPr>
            <p:nvPr/>
          </p:nvSpPr>
          <p:spPr bwMode="auto">
            <a:xfrm>
              <a:off x="5823447" y="3401107"/>
              <a:ext cx="545105" cy="416355"/>
            </a:xfrm>
            <a:custGeom>
              <a:avLst/>
              <a:gdLst>
                <a:gd name="T0" fmla="*/ 420 w 456"/>
                <a:gd name="T1" fmla="*/ 125 h 405"/>
                <a:gd name="T2" fmla="*/ 311 w 456"/>
                <a:gd name="T3" fmla="*/ 0 h 405"/>
                <a:gd name="T4" fmla="*/ 233 w 456"/>
                <a:gd name="T5" fmla="*/ 97 h 405"/>
                <a:gd name="T6" fmla="*/ 223 w 456"/>
                <a:gd name="T7" fmla="*/ 97 h 405"/>
                <a:gd name="T8" fmla="*/ 145 w 456"/>
                <a:gd name="T9" fmla="*/ 0 h 405"/>
                <a:gd name="T10" fmla="*/ 37 w 456"/>
                <a:gd name="T11" fmla="*/ 125 h 405"/>
                <a:gd name="T12" fmla="*/ 30 w 456"/>
                <a:gd name="T13" fmla="*/ 307 h 405"/>
                <a:gd name="T14" fmla="*/ 220 w 456"/>
                <a:gd name="T15" fmla="*/ 405 h 405"/>
                <a:gd name="T16" fmla="*/ 236 w 456"/>
                <a:gd name="T17" fmla="*/ 405 h 405"/>
                <a:gd name="T18" fmla="*/ 427 w 456"/>
                <a:gd name="T19" fmla="*/ 307 h 405"/>
                <a:gd name="T20" fmla="*/ 420 w 456"/>
                <a:gd name="T21" fmla="*/ 125 h 405"/>
                <a:gd name="connsiteX0" fmla="*/ 8936 w 9461"/>
                <a:gd name="connsiteY0" fmla="*/ 3086 h 10000"/>
                <a:gd name="connsiteX1" fmla="*/ 6545 w 9461"/>
                <a:gd name="connsiteY1" fmla="*/ 0 h 10000"/>
                <a:gd name="connsiteX2" fmla="*/ 4835 w 9461"/>
                <a:gd name="connsiteY2" fmla="*/ 2395 h 10000"/>
                <a:gd name="connsiteX3" fmla="*/ 4615 w 9461"/>
                <a:gd name="connsiteY3" fmla="*/ 2395 h 10000"/>
                <a:gd name="connsiteX4" fmla="*/ 2905 w 9461"/>
                <a:gd name="connsiteY4" fmla="*/ 0 h 10000"/>
                <a:gd name="connsiteX5" fmla="*/ 536 w 9461"/>
                <a:gd name="connsiteY5" fmla="*/ 3086 h 10000"/>
                <a:gd name="connsiteX6" fmla="*/ 383 w 9461"/>
                <a:gd name="connsiteY6" fmla="*/ 7580 h 10000"/>
                <a:gd name="connsiteX7" fmla="*/ 4550 w 9461"/>
                <a:gd name="connsiteY7" fmla="*/ 10000 h 10000"/>
                <a:gd name="connsiteX8" fmla="*/ 9089 w 9461"/>
                <a:gd name="connsiteY8" fmla="*/ 7580 h 10000"/>
                <a:gd name="connsiteX9" fmla="*/ 8936 w 9461"/>
                <a:gd name="connsiteY9" fmla="*/ 3086 h 10000"/>
                <a:gd name="connsiteX0" fmla="*/ 9445 w 10000"/>
                <a:gd name="connsiteY0" fmla="*/ 3086 h 8141"/>
                <a:gd name="connsiteX1" fmla="*/ 6918 w 10000"/>
                <a:gd name="connsiteY1" fmla="*/ 0 h 8141"/>
                <a:gd name="connsiteX2" fmla="*/ 5110 w 10000"/>
                <a:gd name="connsiteY2" fmla="*/ 2395 h 8141"/>
                <a:gd name="connsiteX3" fmla="*/ 4878 w 10000"/>
                <a:gd name="connsiteY3" fmla="*/ 2395 h 8141"/>
                <a:gd name="connsiteX4" fmla="*/ 3070 w 10000"/>
                <a:gd name="connsiteY4" fmla="*/ 0 h 8141"/>
                <a:gd name="connsiteX5" fmla="*/ 567 w 10000"/>
                <a:gd name="connsiteY5" fmla="*/ 3086 h 8141"/>
                <a:gd name="connsiteX6" fmla="*/ 405 w 10000"/>
                <a:gd name="connsiteY6" fmla="*/ 7580 h 8141"/>
                <a:gd name="connsiteX7" fmla="*/ 9607 w 10000"/>
                <a:gd name="connsiteY7" fmla="*/ 7580 h 8141"/>
                <a:gd name="connsiteX8" fmla="*/ 9445 w 10000"/>
                <a:gd name="connsiteY8" fmla="*/ 3086 h 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00" h="8141">
                  <a:moveTo>
                    <a:pt x="9445" y="3086"/>
                  </a:moveTo>
                  <a:cubicBezTo>
                    <a:pt x="8262" y="938"/>
                    <a:pt x="7289" y="0"/>
                    <a:pt x="6918" y="0"/>
                  </a:cubicBezTo>
                  <a:cubicBezTo>
                    <a:pt x="6570" y="0"/>
                    <a:pt x="5435" y="2395"/>
                    <a:pt x="5110" y="2395"/>
                  </a:cubicBezTo>
                  <a:lnTo>
                    <a:pt x="4878" y="2395"/>
                  </a:lnTo>
                  <a:cubicBezTo>
                    <a:pt x="4577" y="2395"/>
                    <a:pt x="3441" y="0"/>
                    <a:pt x="3070" y="0"/>
                  </a:cubicBezTo>
                  <a:cubicBezTo>
                    <a:pt x="2723" y="0"/>
                    <a:pt x="1749" y="938"/>
                    <a:pt x="567" y="3086"/>
                  </a:cubicBezTo>
                  <a:cubicBezTo>
                    <a:pt x="11" y="4074"/>
                    <a:pt x="-291" y="6198"/>
                    <a:pt x="405" y="7580"/>
                  </a:cubicBezTo>
                  <a:cubicBezTo>
                    <a:pt x="1912" y="8329"/>
                    <a:pt x="8100" y="8329"/>
                    <a:pt x="9607" y="7580"/>
                  </a:cubicBezTo>
                  <a:cubicBezTo>
                    <a:pt x="10279" y="6198"/>
                    <a:pt x="10001" y="4074"/>
                    <a:pt x="9445" y="3086"/>
                  </a:cubicBezTo>
                  <a:close/>
                </a:path>
              </a:pathLst>
            </a:custGeom>
            <a:grpFill/>
            <a:ln w="9525" cap="flat" cmpd="sng" algn="ctr">
              <a:solidFill>
                <a:srgbClr val="0074A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924" fontAlgn="base">
                <a:spcBef>
                  <a:spcPct val="0"/>
                </a:spcBef>
                <a:spcAft>
                  <a:spcPct val="0"/>
                </a:spcAft>
              </a:pPr>
              <a:endPara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sym typeface="Segoe UI" panose="020B0502040204020203" pitchFamily="34" charset="0"/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3340268" y="2916810"/>
            <a:ext cx="476936" cy="1112594"/>
            <a:chOff x="1691325" y="5759600"/>
            <a:chExt cx="378723" cy="883483"/>
          </a:xfrm>
          <a:solidFill>
            <a:srgbClr val="0074AF"/>
          </a:solidFill>
        </p:grpSpPr>
        <p:sp>
          <p:nvSpPr>
            <p:cNvPr id="82" name="Rectangle 81"/>
            <p:cNvSpPr/>
            <p:nvPr>
              <p:custDataLst>
                <p:tags r:id="rId4"/>
              </p:custDataLst>
            </p:nvPr>
          </p:nvSpPr>
          <p:spPr bwMode="auto">
            <a:xfrm>
              <a:off x="1691326" y="5799135"/>
              <a:ext cx="378722" cy="275634"/>
            </a:xfrm>
            <a:prstGeom prst="rect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txBody>
            <a:bodyPr vert="horz" wrap="none" lIns="91427" tIns="45713" rIns="91427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1899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0281" algn="l"/>
                </a:tabLst>
              </a:pPr>
              <a:r>
                <a:rPr lang="en-US" b="1" dirty="0">
                  <a:solidFill>
                    <a:srgbClr val="FFFFFF"/>
                  </a:solidFill>
                  <a:ea typeface="ＭＳ Ｐゴシック" pitchFamily="34" charset="-128"/>
                </a:rPr>
                <a:t>3</a:t>
              </a:r>
            </a:p>
          </p:txBody>
        </p:sp>
        <p:cxnSp>
          <p:nvCxnSpPr>
            <p:cNvPr id="83" name="Straight Connector 82"/>
            <p:cNvCxnSpPr/>
            <p:nvPr/>
          </p:nvCxnSpPr>
          <p:spPr>
            <a:xfrm flipH="1" flipV="1">
              <a:off x="1691325" y="5759600"/>
              <a:ext cx="1" cy="883483"/>
            </a:xfrm>
            <a:prstGeom prst="line">
              <a:avLst/>
            </a:prstGeom>
            <a:grpFill/>
            <a:ln>
              <a:solidFill>
                <a:srgbClr val="0074AF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Rectangle 80"/>
          <p:cNvSpPr/>
          <p:nvPr/>
        </p:nvSpPr>
        <p:spPr>
          <a:xfrm>
            <a:off x="2950755" y="4042507"/>
            <a:ext cx="2099390" cy="1570366"/>
          </a:xfrm>
          <a:prstGeom prst="rect">
            <a:avLst/>
          </a:prstGeom>
          <a:noFill/>
          <a:ln w="3175">
            <a:noFill/>
          </a:ln>
        </p:spPr>
        <p:txBody>
          <a:bodyPr wrap="square" lIns="0" rtlCol="0" anchor="t" anchorCtr="0">
            <a:spAutoFit/>
          </a:bodyPr>
          <a:lstStyle/>
          <a:p>
            <a:pPr defTabSz="914225"/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Up-Front Intensive BOT training</a:t>
            </a:r>
          </a:p>
          <a:p>
            <a:pPr defTabSz="914225"/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 - $20K / month  for 2 months</a:t>
            </a:r>
          </a:p>
          <a:p>
            <a:pPr defTabSz="914225"/>
            <a:r>
              <a:rPr lang="en-IN" sz="1372" dirty="0">
                <a:solidFill>
                  <a:srgbClr val="000000">
                    <a:lumMod val="75000"/>
                    <a:lumOff val="25000"/>
                  </a:srgbClr>
                </a:solidFill>
              </a:rPr>
              <a:t>- Resolution of immediate issues and full-time support</a:t>
            </a:r>
          </a:p>
        </p:txBody>
      </p:sp>
      <p:grpSp>
        <p:nvGrpSpPr>
          <p:cNvPr id="90" name="Group 89"/>
          <p:cNvGrpSpPr/>
          <p:nvPr/>
        </p:nvGrpSpPr>
        <p:grpSpPr>
          <a:xfrm>
            <a:off x="7026929" y="3639514"/>
            <a:ext cx="476936" cy="881028"/>
            <a:chOff x="1691325" y="5357506"/>
            <a:chExt cx="378723" cy="699600"/>
          </a:xfrm>
          <a:solidFill>
            <a:srgbClr val="0074AF"/>
          </a:solidFill>
        </p:grpSpPr>
        <p:sp>
          <p:nvSpPr>
            <p:cNvPr id="92" name="Rectangle 91"/>
            <p:cNvSpPr/>
            <p:nvPr>
              <p:custDataLst>
                <p:tags r:id="rId3"/>
              </p:custDataLst>
            </p:nvPr>
          </p:nvSpPr>
          <p:spPr bwMode="auto">
            <a:xfrm>
              <a:off x="1691326" y="5397044"/>
              <a:ext cx="378722" cy="275634"/>
            </a:xfrm>
            <a:prstGeom prst="rect">
              <a:avLst/>
            </a:prstGeom>
            <a:grpFill/>
            <a:ln w="9525" cap="flat" cmpd="sng" algn="ctr">
              <a:solidFill>
                <a:srgbClr val="0074A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/>
          </p:spPr>
          <p:txBody>
            <a:bodyPr vert="horz" wrap="none" lIns="91427" tIns="45713" rIns="91427" bIns="4571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1899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0281" algn="l"/>
                </a:tabLst>
              </a:pPr>
              <a:r>
                <a:rPr lang="en-US" b="1" dirty="0">
                  <a:solidFill>
                    <a:srgbClr val="FFFFFF"/>
                  </a:solidFill>
                  <a:ea typeface="ＭＳ Ｐゴシック" pitchFamily="34" charset="-128"/>
                </a:rPr>
                <a:t>5</a:t>
              </a:r>
            </a:p>
          </p:txBody>
        </p:sp>
        <p:cxnSp>
          <p:nvCxnSpPr>
            <p:cNvPr id="93" name="Straight Connector 92"/>
            <p:cNvCxnSpPr/>
            <p:nvPr/>
          </p:nvCxnSpPr>
          <p:spPr>
            <a:xfrm flipV="1">
              <a:off x="1691325" y="5357506"/>
              <a:ext cx="0" cy="699600"/>
            </a:xfrm>
            <a:prstGeom prst="line">
              <a:avLst/>
            </a:prstGeom>
            <a:grpFill/>
            <a:ln>
              <a:solidFill>
                <a:srgbClr val="0074AF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ctangle 90"/>
          <p:cNvSpPr/>
          <p:nvPr/>
        </p:nvSpPr>
        <p:spPr>
          <a:xfrm>
            <a:off x="5734678" y="4508631"/>
            <a:ext cx="2408042" cy="1600438"/>
          </a:xfrm>
          <a:prstGeom prst="rect">
            <a:avLst/>
          </a:prstGeom>
          <a:noFill/>
          <a:ln w="3175">
            <a:noFill/>
          </a:ln>
        </p:spPr>
        <p:txBody>
          <a:bodyPr wrap="square" lIns="0" rtlCol="0" anchor="t" anchorCtr="0">
            <a:spAutoFit/>
          </a:bodyPr>
          <a:lstStyle/>
          <a:p>
            <a:pPr defTabSz="914225"/>
            <a:r>
              <a:rPr lang="en-IN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dditional Feature Development </a:t>
            </a:r>
          </a:p>
          <a:p>
            <a:pPr marL="285750" indent="-285750" defTabSz="914225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$TBD</a:t>
            </a:r>
          </a:p>
          <a:p>
            <a:pPr marL="285750" indent="-285750" defTabSz="914225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Features costed on a per-feature basis depending on </a:t>
            </a:r>
            <a:r>
              <a:rPr lang="en-IN" sz="14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.Net</a:t>
            </a:r>
            <a:r>
              <a:rPr lang="en-IN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 integration required</a:t>
            </a:r>
          </a:p>
        </p:txBody>
      </p:sp>
      <p:sp>
        <p:nvSpPr>
          <p:cNvPr id="124" name="Freeform 123"/>
          <p:cNvSpPr/>
          <p:nvPr/>
        </p:nvSpPr>
        <p:spPr bwMode="auto">
          <a:xfrm>
            <a:off x="9757240" y="2419017"/>
            <a:ext cx="245981" cy="451716"/>
          </a:xfrm>
          <a:custGeom>
            <a:avLst/>
            <a:gdLst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41426"/>
              <a:gd name="connsiteY0" fmla="*/ 0 h 4914900"/>
              <a:gd name="connsiteX1" fmla="*/ 1676400 w 2641426"/>
              <a:gd name="connsiteY1" fmla="*/ 0 h 4914900"/>
              <a:gd name="connsiteX2" fmla="*/ 1676400 w 2641426"/>
              <a:gd name="connsiteY2" fmla="*/ 523875 h 4914900"/>
              <a:gd name="connsiteX3" fmla="*/ 2466975 w 2641426"/>
              <a:gd name="connsiteY3" fmla="*/ 647700 h 4914900"/>
              <a:gd name="connsiteX4" fmla="*/ 2466975 w 2641426"/>
              <a:gd name="connsiteY4" fmla="*/ 1628775 h 4914900"/>
              <a:gd name="connsiteX5" fmla="*/ 1276350 w 2641426"/>
              <a:gd name="connsiteY5" fmla="*/ 1400175 h 4914900"/>
              <a:gd name="connsiteX6" fmla="*/ 1238250 w 2641426"/>
              <a:gd name="connsiteY6" fmla="*/ 1800225 h 4914900"/>
              <a:gd name="connsiteX7" fmla="*/ 2638425 w 2641426"/>
              <a:gd name="connsiteY7" fmla="*/ 3276600 h 4914900"/>
              <a:gd name="connsiteX8" fmla="*/ 1685925 w 2641426"/>
              <a:gd name="connsiteY8" fmla="*/ 4305300 h 4914900"/>
              <a:gd name="connsiteX9" fmla="*/ 1685925 w 2641426"/>
              <a:gd name="connsiteY9" fmla="*/ 4914900 h 4914900"/>
              <a:gd name="connsiteX10" fmla="*/ 1038225 w 2641426"/>
              <a:gd name="connsiteY10" fmla="*/ 4914900 h 4914900"/>
              <a:gd name="connsiteX11" fmla="*/ 1038225 w 2641426"/>
              <a:gd name="connsiteY11" fmla="*/ 4381500 h 4914900"/>
              <a:gd name="connsiteX12" fmla="*/ 19050 w 2641426"/>
              <a:gd name="connsiteY12" fmla="*/ 4152900 h 4914900"/>
              <a:gd name="connsiteX13" fmla="*/ 19050 w 2641426"/>
              <a:gd name="connsiteY13" fmla="*/ 3133725 h 4914900"/>
              <a:gd name="connsiteX14" fmla="*/ 1181100 w 2641426"/>
              <a:gd name="connsiteY14" fmla="*/ 3533775 h 4914900"/>
              <a:gd name="connsiteX15" fmla="*/ 1333500 w 2641426"/>
              <a:gd name="connsiteY15" fmla="*/ 3086100 h 4914900"/>
              <a:gd name="connsiteX16" fmla="*/ 0 w 2641426"/>
              <a:gd name="connsiteY16" fmla="*/ 1447800 h 4914900"/>
              <a:gd name="connsiteX17" fmla="*/ 1038225 w 2641426"/>
              <a:gd name="connsiteY17" fmla="*/ 561975 h 4914900"/>
              <a:gd name="connsiteX18" fmla="*/ 1028700 w 2641426"/>
              <a:gd name="connsiteY18" fmla="*/ 0 h 4914900"/>
              <a:gd name="connsiteX0" fmla="*/ 1028700 w 2640867"/>
              <a:gd name="connsiteY0" fmla="*/ 0 h 4914900"/>
              <a:gd name="connsiteX1" fmla="*/ 1676400 w 2640867"/>
              <a:gd name="connsiteY1" fmla="*/ 0 h 4914900"/>
              <a:gd name="connsiteX2" fmla="*/ 1676400 w 2640867"/>
              <a:gd name="connsiteY2" fmla="*/ 523875 h 4914900"/>
              <a:gd name="connsiteX3" fmla="*/ 2466975 w 2640867"/>
              <a:gd name="connsiteY3" fmla="*/ 647700 h 4914900"/>
              <a:gd name="connsiteX4" fmla="*/ 2466975 w 2640867"/>
              <a:gd name="connsiteY4" fmla="*/ 1628775 h 4914900"/>
              <a:gd name="connsiteX5" fmla="*/ 1276350 w 2640867"/>
              <a:gd name="connsiteY5" fmla="*/ 1400175 h 4914900"/>
              <a:gd name="connsiteX6" fmla="*/ 1238250 w 2640867"/>
              <a:gd name="connsiteY6" fmla="*/ 1800225 h 4914900"/>
              <a:gd name="connsiteX7" fmla="*/ 2638425 w 2640867"/>
              <a:gd name="connsiteY7" fmla="*/ 3276600 h 4914900"/>
              <a:gd name="connsiteX8" fmla="*/ 1685925 w 2640867"/>
              <a:gd name="connsiteY8" fmla="*/ 4305300 h 4914900"/>
              <a:gd name="connsiteX9" fmla="*/ 1685925 w 2640867"/>
              <a:gd name="connsiteY9" fmla="*/ 4914900 h 4914900"/>
              <a:gd name="connsiteX10" fmla="*/ 1038225 w 2640867"/>
              <a:gd name="connsiteY10" fmla="*/ 4914900 h 4914900"/>
              <a:gd name="connsiteX11" fmla="*/ 1038225 w 2640867"/>
              <a:gd name="connsiteY11" fmla="*/ 4381500 h 4914900"/>
              <a:gd name="connsiteX12" fmla="*/ 19050 w 2640867"/>
              <a:gd name="connsiteY12" fmla="*/ 4152900 h 4914900"/>
              <a:gd name="connsiteX13" fmla="*/ 19050 w 2640867"/>
              <a:gd name="connsiteY13" fmla="*/ 3133725 h 4914900"/>
              <a:gd name="connsiteX14" fmla="*/ 1181100 w 2640867"/>
              <a:gd name="connsiteY14" fmla="*/ 3533775 h 4914900"/>
              <a:gd name="connsiteX15" fmla="*/ 1333500 w 2640867"/>
              <a:gd name="connsiteY15" fmla="*/ 3086100 h 4914900"/>
              <a:gd name="connsiteX16" fmla="*/ 0 w 2640867"/>
              <a:gd name="connsiteY16" fmla="*/ 1447800 h 4914900"/>
              <a:gd name="connsiteX17" fmla="*/ 1038225 w 2640867"/>
              <a:gd name="connsiteY17" fmla="*/ 561975 h 4914900"/>
              <a:gd name="connsiteX18" fmla="*/ 1028700 w 2640867"/>
              <a:gd name="connsiteY18" fmla="*/ 0 h 4914900"/>
              <a:gd name="connsiteX0" fmla="*/ 1028700 w 2646293"/>
              <a:gd name="connsiteY0" fmla="*/ 0 h 4914900"/>
              <a:gd name="connsiteX1" fmla="*/ 1676400 w 2646293"/>
              <a:gd name="connsiteY1" fmla="*/ 0 h 4914900"/>
              <a:gd name="connsiteX2" fmla="*/ 1676400 w 2646293"/>
              <a:gd name="connsiteY2" fmla="*/ 523875 h 4914900"/>
              <a:gd name="connsiteX3" fmla="*/ 2466975 w 2646293"/>
              <a:gd name="connsiteY3" fmla="*/ 647700 h 4914900"/>
              <a:gd name="connsiteX4" fmla="*/ 2466975 w 2646293"/>
              <a:gd name="connsiteY4" fmla="*/ 1628775 h 4914900"/>
              <a:gd name="connsiteX5" fmla="*/ 1276350 w 2646293"/>
              <a:gd name="connsiteY5" fmla="*/ 1400175 h 4914900"/>
              <a:gd name="connsiteX6" fmla="*/ 1238250 w 2646293"/>
              <a:gd name="connsiteY6" fmla="*/ 1800225 h 4914900"/>
              <a:gd name="connsiteX7" fmla="*/ 2638425 w 2646293"/>
              <a:gd name="connsiteY7" fmla="*/ 3276600 h 4914900"/>
              <a:gd name="connsiteX8" fmla="*/ 1685925 w 2646293"/>
              <a:gd name="connsiteY8" fmla="*/ 4305300 h 4914900"/>
              <a:gd name="connsiteX9" fmla="*/ 1685925 w 2646293"/>
              <a:gd name="connsiteY9" fmla="*/ 4914900 h 4914900"/>
              <a:gd name="connsiteX10" fmla="*/ 1038225 w 2646293"/>
              <a:gd name="connsiteY10" fmla="*/ 4914900 h 4914900"/>
              <a:gd name="connsiteX11" fmla="*/ 1038225 w 2646293"/>
              <a:gd name="connsiteY11" fmla="*/ 4381500 h 4914900"/>
              <a:gd name="connsiteX12" fmla="*/ 19050 w 2646293"/>
              <a:gd name="connsiteY12" fmla="*/ 4152900 h 4914900"/>
              <a:gd name="connsiteX13" fmla="*/ 19050 w 2646293"/>
              <a:gd name="connsiteY13" fmla="*/ 3133725 h 4914900"/>
              <a:gd name="connsiteX14" fmla="*/ 1181100 w 2646293"/>
              <a:gd name="connsiteY14" fmla="*/ 3533775 h 4914900"/>
              <a:gd name="connsiteX15" fmla="*/ 1333500 w 2646293"/>
              <a:gd name="connsiteY15" fmla="*/ 3086100 h 4914900"/>
              <a:gd name="connsiteX16" fmla="*/ 0 w 2646293"/>
              <a:gd name="connsiteY16" fmla="*/ 1447800 h 4914900"/>
              <a:gd name="connsiteX17" fmla="*/ 1038225 w 2646293"/>
              <a:gd name="connsiteY17" fmla="*/ 561975 h 4914900"/>
              <a:gd name="connsiteX18" fmla="*/ 1028700 w 2646293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64796 w 2682440"/>
              <a:gd name="connsiteY0" fmla="*/ 0 h 4914900"/>
              <a:gd name="connsiteX1" fmla="*/ 1712496 w 2682440"/>
              <a:gd name="connsiteY1" fmla="*/ 0 h 4914900"/>
              <a:gd name="connsiteX2" fmla="*/ 1712496 w 2682440"/>
              <a:gd name="connsiteY2" fmla="*/ 523875 h 4914900"/>
              <a:gd name="connsiteX3" fmla="*/ 2503071 w 2682440"/>
              <a:gd name="connsiteY3" fmla="*/ 647700 h 4914900"/>
              <a:gd name="connsiteX4" fmla="*/ 2503071 w 2682440"/>
              <a:gd name="connsiteY4" fmla="*/ 1628775 h 4914900"/>
              <a:gd name="connsiteX5" fmla="*/ 1312446 w 2682440"/>
              <a:gd name="connsiteY5" fmla="*/ 1400175 h 4914900"/>
              <a:gd name="connsiteX6" fmla="*/ 1274346 w 2682440"/>
              <a:gd name="connsiteY6" fmla="*/ 1800225 h 4914900"/>
              <a:gd name="connsiteX7" fmla="*/ 2674521 w 2682440"/>
              <a:gd name="connsiteY7" fmla="*/ 3276600 h 4914900"/>
              <a:gd name="connsiteX8" fmla="*/ 1722021 w 2682440"/>
              <a:gd name="connsiteY8" fmla="*/ 4305300 h 4914900"/>
              <a:gd name="connsiteX9" fmla="*/ 1722021 w 2682440"/>
              <a:gd name="connsiteY9" fmla="*/ 4914900 h 4914900"/>
              <a:gd name="connsiteX10" fmla="*/ 1074321 w 2682440"/>
              <a:gd name="connsiteY10" fmla="*/ 4914900 h 4914900"/>
              <a:gd name="connsiteX11" fmla="*/ 1074321 w 2682440"/>
              <a:gd name="connsiteY11" fmla="*/ 4381500 h 4914900"/>
              <a:gd name="connsiteX12" fmla="*/ 55146 w 2682440"/>
              <a:gd name="connsiteY12" fmla="*/ 4152900 h 4914900"/>
              <a:gd name="connsiteX13" fmla="*/ 55146 w 2682440"/>
              <a:gd name="connsiteY13" fmla="*/ 3133725 h 4914900"/>
              <a:gd name="connsiteX14" fmla="*/ 1217196 w 2682440"/>
              <a:gd name="connsiteY14" fmla="*/ 3533775 h 4914900"/>
              <a:gd name="connsiteX15" fmla="*/ 1369596 w 2682440"/>
              <a:gd name="connsiteY15" fmla="*/ 3086100 h 4914900"/>
              <a:gd name="connsiteX16" fmla="*/ 36096 w 2682440"/>
              <a:gd name="connsiteY16" fmla="*/ 1447800 h 4914900"/>
              <a:gd name="connsiteX17" fmla="*/ 1074321 w 2682440"/>
              <a:gd name="connsiteY17" fmla="*/ 561975 h 4914900"/>
              <a:gd name="connsiteX18" fmla="*/ 1064796 w 2682440"/>
              <a:gd name="connsiteY18" fmla="*/ 0 h 4914900"/>
              <a:gd name="connsiteX0" fmla="*/ 1065400 w 2683044"/>
              <a:gd name="connsiteY0" fmla="*/ 0 h 4914900"/>
              <a:gd name="connsiteX1" fmla="*/ 1713100 w 2683044"/>
              <a:gd name="connsiteY1" fmla="*/ 0 h 4914900"/>
              <a:gd name="connsiteX2" fmla="*/ 1713100 w 2683044"/>
              <a:gd name="connsiteY2" fmla="*/ 523875 h 4914900"/>
              <a:gd name="connsiteX3" fmla="*/ 2503675 w 2683044"/>
              <a:gd name="connsiteY3" fmla="*/ 647700 h 4914900"/>
              <a:gd name="connsiteX4" fmla="*/ 2503675 w 2683044"/>
              <a:gd name="connsiteY4" fmla="*/ 1628775 h 4914900"/>
              <a:gd name="connsiteX5" fmla="*/ 1313050 w 2683044"/>
              <a:gd name="connsiteY5" fmla="*/ 1400175 h 4914900"/>
              <a:gd name="connsiteX6" fmla="*/ 1274950 w 2683044"/>
              <a:gd name="connsiteY6" fmla="*/ 1800225 h 4914900"/>
              <a:gd name="connsiteX7" fmla="*/ 2675125 w 2683044"/>
              <a:gd name="connsiteY7" fmla="*/ 3276600 h 4914900"/>
              <a:gd name="connsiteX8" fmla="*/ 1722625 w 2683044"/>
              <a:gd name="connsiteY8" fmla="*/ 4305300 h 4914900"/>
              <a:gd name="connsiteX9" fmla="*/ 1722625 w 2683044"/>
              <a:gd name="connsiteY9" fmla="*/ 4914900 h 4914900"/>
              <a:gd name="connsiteX10" fmla="*/ 1074925 w 2683044"/>
              <a:gd name="connsiteY10" fmla="*/ 4914900 h 4914900"/>
              <a:gd name="connsiteX11" fmla="*/ 1074925 w 2683044"/>
              <a:gd name="connsiteY11" fmla="*/ 4381500 h 4914900"/>
              <a:gd name="connsiteX12" fmla="*/ 55750 w 2683044"/>
              <a:gd name="connsiteY12" fmla="*/ 4152900 h 4914900"/>
              <a:gd name="connsiteX13" fmla="*/ 55750 w 2683044"/>
              <a:gd name="connsiteY13" fmla="*/ 3133725 h 4914900"/>
              <a:gd name="connsiteX14" fmla="*/ 1217800 w 2683044"/>
              <a:gd name="connsiteY14" fmla="*/ 3533775 h 4914900"/>
              <a:gd name="connsiteX15" fmla="*/ 1370200 w 2683044"/>
              <a:gd name="connsiteY15" fmla="*/ 3086100 h 4914900"/>
              <a:gd name="connsiteX16" fmla="*/ 36700 w 2683044"/>
              <a:gd name="connsiteY16" fmla="*/ 1447800 h 4914900"/>
              <a:gd name="connsiteX17" fmla="*/ 1074925 w 2683044"/>
              <a:gd name="connsiteY17" fmla="*/ 561975 h 4914900"/>
              <a:gd name="connsiteX18" fmla="*/ 1065400 w 2683044"/>
              <a:gd name="connsiteY18" fmla="*/ 0 h 4914900"/>
              <a:gd name="connsiteX0" fmla="*/ 1061280 w 2678924"/>
              <a:gd name="connsiteY0" fmla="*/ 0 h 4914900"/>
              <a:gd name="connsiteX1" fmla="*/ 1708980 w 2678924"/>
              <a:gd name="connsiteY1" fmla="*/ 0 h 4914900"/>
              <a:gd name="connsiteX2" fmla="*/ 1708980 w 2678924"/>
              <a:gd name="connsiteY2" fmla="*/ 523875 h 4914900"/>
              <a:gd name="connsiteX3" fmla="*/ 2499555 w 2678924"/>
              <a:gd name="connsiteY3" fmla="*/ 647700 h 4914900"/>
              <a:gd name="connsiteX4" fmla="*/ 2499555 w 2678924"/>
              <a:gd name="connsiteY4" fmla="*/ 1628775 h 4914900"/>
              <a:gd name="connsiteX5" fmla="*/ 1308930 w 2678924"/>
              <a:gd name="connsiteY5" fmla="*/ 1400175 h 4914900"/>
              <a:gd name="connsiteX6" fmla="*/ 1270830 w 2678924"/>
              <a:gd name="connsiteY6" fmla="*/ 1800225 h 4914900"/>
              <a:gd name="connsiteX7" fmla="*/ 2671005 w 2678924"/>
              <a:gd name="connsiteY7" fmla="*/ 3276600 h 4914900"/>
              <a:gd name="connsiteX8" fmla="*/ 1718505 w 2678924"/>
              <a:gd name="connsiteY8" fmla="*/ 4305300 h 4914900"/>
              <a:gd name="connsiteX9" fmla="*/ 1718505 w 2678924"/>
              <a:gd name="connsiteY9" fmla="*/ 4914900 h 4914900"/>
              <a:gd name="connsiteX10" fmla="*/ 1070805 w 2678924"/>
              <a:gd name="connsiteY10" fmla="*/ 4914900 h 4914900"/>
              <a:gd name="connsiteX11" fmla="*/ 1070805 w 2678924"/>
              <a:gd name="connsiteY11" fmla="*/ 4381500 h 4914900"/>
              <a:gd name="connsiteX12" fmla="*/ 51630 w 2678924"/>
              <a:gd name="connsiteY12" fmla="*/ 4152900 h 4914900"/>
              <a:gd name="connsiteX13" fmla="*/ 51630 w 2678924"/>
              <a:gd name="connsiteY13" fmla="*/ 3133725 h 4914900"/>
              <a:gd name="connsiteX14" fmla="*/ 1213680 w 2678924"/>
              <a:gd name="connsiteY14" fmla="*/ 3533775 h 4914900"/>
              <a:gd name="connsiteX15" fmla="*/ 1366080 w 2678924"/>
              <a:gd name="connsiteY15" fmla="*/ 3086100 h 4914900"/>
              <a:gd name="connsiteX16" fmla="*/ 32580 w 2678924"/>
              <a:gd name="connsiteY16" fmla="*/ 1447800 h 4914900"/>
              <a:gd name="connsiteX17" fmla="*/ 1070805 w 2678924"/>
              <a:gd name="connsiteY17" fmla="*/ 561975 h 4914900"/>
              <a:gd name="connsiteX18" fmla="*/ 1061280 w 2678924"/>
              <a:gd name="connsiteY18" fmla="*/ 0 h 4914900"/>
              <a:gd name="connsiteX0" fmla="*/ 1061749 w 2679393"/>
              <a:gd name="connsiteY0" fmla="*/ 0 h 4914900"/>
              <a:gd name="connsiteX1" fmla="*/ 1709449 w 2679393"/>
              <a:gd name="connsiteY1" fmla="*/ 0 h 4914900"/>
              <a:gd name="connsiteX2" fmla="*/ 1709449 w 2679393"/>
              <a:gd name="connsiteY2" fmla="*/ 523875 h 4914900"/>
              <a:gd name="connsiteX3" fmla="*/ 2500024 w 2679393"/>
              <a:gd name="connsiteY3" fmla="*/ 647700 h 4914900"/>
              <a:gd name="connsiteX4" fmla="*/ 2500024 w 2679393"/>
              <a:gd name="connsiteY4" fmla="*/ 1628775 h 4914900"/>
              <a:gd name="connsiteX5" fmla="*/ 1309399 w 2679393"/>
              <a:gd name="connsiteY5" fmla="*/ 1400175 h 4914900"/>
              <a:gd name="connsiteX6" fmla="*/ 1271299 w 2679393"/>
              <a:gd name="connsiteY6" fmla="*/ 1800225 h 4914900"/>
              <a:gd name="connsiteX7" fmla="*/ 2671474 w 2679393"/>
              <a:gd name="connsiteY7" fmla="*/ 3276600 h 4914900"/>
              <a:gd name="connsiteX8" fmla="*/ 1718974 w 2679393"/>
              <a:gd name="connsiteY8" fmla="*/ 4305300 h 4914900"/>
              <a:gd name="connsiteX9" fmla="*/ 1718974 w 2679393"/>
              <a:gd name="connsiteY9" fmla="*/ 4914900 h 4914900"/>
              <a:gd name="connsiteX10" fmla="*/ 1071274 w 2679393"/>
              <a:gd name="connsiteY10" fmla="*/ 4914900 h 4914900"/>
              <a:gd name="connsiteX11" fmla="*/ 1071274 w 2679393"/>
              <a:gd name="connsiteY11" fmla="*/ 4381500 h 4914900"/>
              <a:gd name="connsiteX12" fmla="*/ 52099 w 2679393"/>
              <a:gd name="connsiteY12" fmla="*/ 4152900 h 4914900"/>
              <a:gd name="connsiteX13" fmla="*/ 52099 w 2679393"/>
              <a:gd name="connsiteY13" fmla="*/ 3133725 h 4914900"/>
              <a:gd name="connsiteX14" fmla="*/ 1214149 w 2679393"/>
              <a:gd name="connsiteY14" fmla="*/ 3533775 h 4914900"/>
              <a:gd name="connsiteX15" fmla="*/ 1366549 w 2679393"/>
              <a:gd name="connsiteY15" fmla="*/ 3086100 h 4914900"/>
              <a:gd name="connsiteX16" fmla="*/ 33049 w 2679393"/>
              <a:gd name="connsiteY16" fmla="*/ 1447800 h 4914900"/>
              <a:gd name="connsiteX17" fmla="*/ 1071274 w 2679393"/>
              <a:gd name="connsiteY17" fmla="*/ 561975 h 4914900"/>
              <a:gd name="connsiteX18" fmla="*/ 1061749 w 2679393"/>
              <a:gd name="connsiteY18" fmla="*/ 0 h 4914900"/>
              <a:gd name="connsiteX0" fmla="*/ 1061749 w 2679393"/>
              <a:gd name="connsiteY0" fmla="*/ 0 h 4914900"/>
              <a:gd name="connsiteX1" fmla="*/ 1709449 w 2679393"/>
              <a:gd name="connsiteY1" fmla="*/ 0 h 4914900"/>
              <a:gd name="connsiteX2" fmla="*/ 1709449 w 2679393"/>
              <a:gd name="connsiteY2" fmla="*/ 523875 h 4914900"/>
              <a:gd name="connsiteX3" fmla="*/ 2500024 w 2679393"/>
              <a:gd name="connsiteY3" fmla="*/ 647700 h 4914900"/>
              <a:gd name="connsiteX4" fmla="*/ 2500024 w 2679393"/>
              <a:gd name="connsiteY4" fmla="*/ 1628775 h 4914900"/>
              <a:gd name="connsiteX5" fmla="*/ 1309399 w 2679393"/>
              <a:gd name="connsiteY5" fmla="*/ 1400175 h 4914900"/>
              <a:gd name="connsiteX6" fmla="*/ 1271299 w 2679393"/>
              <a:gd name="connsiteY6" fmla="*/ 1800225 h 4914900"/>
              <a:gd name="connsiteX7" fmla="*/ 2671474 w 2679393"/>
              <a:gd name="connsiteY7" fmla="*/ 3276600 h 4914900"/>
              <a:gd name="connsiteX8" fmla="*/ 1718974 w 2679393"/>
              <a:gd name="connsiteY8" fmla="*/ 4305300 h 4914900"/>
              <a:gd name="connsiteX9" fmla="*/ 1718974 w 2679393"/>
              <a:gd name="connsiteY9" fmla="*/ 4914900 h 4914900"/>
              <a:gd name="connsiteX10" fmla="*/ 1071274 w 2679393"/>
              <a:gd name="connsiteY10" fmla="*/ 4914900 h 4914900"/>
              <a:gd name="connsiteX11" fmla="*/ 1071274 w 2679393"/>
              <a:gd name="connsiteY11" fmla="*/ 4381500 h 4914900"/>
              <a:gd name="connsiteX12" fmla="*/ 52099 w 2679393"/>
              <a:gd name="connsiteY12" fmla="*/ 4152900 h 4914900"/>
              <a:gd name="connsiteX13" fmla="*/ 52099 w 2679393"/>
              <a:gd name="connsiteY13" fmla="*/ 3133725 h 4914900"/>
              <a:gd name="connsiteX14" fmla="*/ 1214149 w 2679393"/>
              <a:gd name="connsiteY14" fmla="*/ 3533775 h 4914900"/>
              <a:gd name="connsiteX15" fmla="*/ 1366549 w 2679393"/>
              <a:gd name="connsiteY15" fmla="*/ 3086100 h 4914900"/>
              <a:gd name="connsiteX16" fmla="*/ 33049 w 2679393"/>
              <a:gd name="connsiteY16" fmla="*/ 1447800 h 4914900"/>
              <a:gd name="connsiteX17" fmla="*/ 1071274 w 2679393"/>
              <a:gd name="connsiteY17" fmla="*/ 561975 h 4914900"/>
              <a:gd name="connsiteX18" fmla="*/ 1061749 w 2679393"/>
              <a:gd name="connsiteY18" fmla="*/ 0 h 4914900"/>
              <a:gd name="connsiteX0" fmla="*/ 1058739 w 2676383"/>
              <a:gd name="connsiteY0" fmla="*/ 0 h 4914900"/>
              <a:gd name="connsiteX1" fmla="*/ 1706439 w 2676383"/>
              <a:gd name="connsiteY1" fmla="*/ 0 h 4914900"/>
              <a:gd name="connsiteX2" fmla="*/ 1706439 w 2676383"/>
              <a:gd name="connsiteY2" fmla="*/ 523875 h 4914900"/>
              <a:gd name="connsiteX3" fmla="*/ 2497014 w 2676383"/>
              <a:gd name="connsiteY3" fmla="*/ 647700 h 4914900"/>
              <a:gd name="connsiteX4" fmla="*/ 2497014 w 2676383"/>
              <a:gd name="connsiteY4" fmla="*/ 1628775 h 4914900"/>
              <a:gd name="connsiteX5" fmla="*/ 1306389 w 2676383"/>
              <a:gd name="connsiteY5" fmla="*/ 1400175 h 4914900"/>
              <a:gd name="connsiteX6" fmla="*/ 1268289 w 2676383"/>
              <a:gd name="connsiteY6" fmla="*/ 1800225 h 4914900"/>
              <a:gd name="connsiteX7" fmla="*/ 2668464 w 2676383"/>
              <a:gd name="connsiteY7" fmla="*/ 3276600 h 4914900"/>
              <a:gd name="connsiteX8" fmla="*/ 1715964 w 2676383"/>
              <a:gd name="connsiteY8" fmla="*/ 4305300 h 4914900"/>
              <a:gd name="connsiteX9" fmla="*/ 1715964 w 2676383"/>
              <a:gd name="connsiteY9" fmla="*/ 4914900 h 4914900"/>
              <a:gd name="connsiteX10" fmla="*/ 1068264 w 2676383"/>
              <a:gd name="connsiteY10" fmla="*/ 4914900 h 4914900"/>
              <a:gd name="connsiteX11" fmla="*/ 1068264 w 2676383"/>
              <a:gd name="connsiteY11" fmla="*/ 4381500 h 4914900"/>
              <a:gd name="connsiteX12" fmla="*/ 49089 w 2676383"/>
              <a:gd name="connsiteY12" fmla="*/ 4152900 h 4914900"/>
              <a:gd name="connsiteX13" fmla="*/ 49089 w 2676383"/>
              <a:gd name="connsiteY13" fmla="*/ 3133725 h 4914900"/>
              <a:gd name="connsiteX14" fmla="*/ 1211139 w 2676383"/>
              <a:gd name="connsiteY14" fmla="*/ 3533775 h 4914900"/>
              <a:gd name="connsiteX15" fmla="*/ 1363539 w 2676383"/>
              <a:gd name="connsiteY15" fmla="*/ 3086100 h 4914900"/>
              <a:gd name="connsiteX16" fmla="*/ 30039 w 2676383"/>
              <a:gd name="connsiteY16" fmla="*/ 1447800 h 4914900"/>
              <a:gd name="connsiteX17" fmla="*/ 1068264 w 2676383"/>
              <a:gd name="connsiteY17" fmla="*/ 561975 h 4914900"/>
              <a:gd name="connsiteX18" fmla="*/ 1058739 w 2676383"/>
              <a:gd name="connsiteY18" fmla="*/ 0 h 4914900"/>
              <a:gd name="connsiteX0" fmla="*/ 1058739 w 2676383"/>
              <a:gd name="connsiteY0" fmla="*/ 0 h 4914900"/>
              <a:gd name="connsiteX1" fmla="*/ 1706439 w 2676383"/>
              <a:gd name="connsiteY1" fmla="*/ 0 h 4914900"/>
              <a:gd name="connsiteX2" fmla="*/ 1706439 w 2676383"/>
              <a:gd name="connsiteY2" fmla="*/ 523875 h 4914900"/>
              <a:gd name="connsiteX3" fmla="*/ 2497014 w 2676383"/>
              <a:gd name="connsiteY3" fmla="*/ 647700 h 4914900"/>
              <a:gd name="connsiteX4" fmla="*/ 2497014 w 2676383"/>
              <a:gd name="connsiteY4" fmla="*/ 1628775 h 4914900"/>
              <a:gd name="connsiteX5" fmla="*/ 1306389 w 2676383"/>
              <a:gd name="connsiteY5" fmla="*/ 1400175 h 4914900"/>
              <a:gd name="connsiteX6" fmla="*/ 1268289 w 2676383"/>
              <a:gd name="connsiteY6" fmla="*/ 1800225 h 4914900"/>
              <a:gd name="connsiteX7" fmla="*/ 2668464 w 2676383"/>
              <a:gd name="connsiteY7" fmla="*/ 3276600 h 4914900"/>
              <a:gd name="connsiteX8" fmla="*/ 1715964 w 2676383"/>
              <a:gd name="connsiteY8" fmla="*/ 4305300 h 4914900"/>
              <a:gd name="connsiteX9" fmla="*/ 1715964 w 2676383"/>
              <a:gd name="connsiteY9" fmla="*/ 4914900 h 4914900"/>
              <a:gd name="connsiteX10" fmla="*/ 1068264 w 2676383"/>
              <a:gd name="connsiteY10" fmla="*/ 4914900 h 4914900"/>
              <a:gd name="connsiteX11" fmla="*/ 1068264 w 2676383"/>
              <a:gd name="connsiteY11" fmla="*/ 4381500 h 4914900"/>
              <a:gd name="connsiteX12" fmla="*/ 49089 w 2676383"/>
              <a:gd name="connsiteY12" fmla="*/ 4152900 h 4914900"/>
              <a:gd name="connsiteX13" fmla="*/ 49089 w 2676383"/>
              <a:gd name="connsiteY13" fmla="*/ 3133725 h 4914900"/>
              <a:gd name="connsiteX14" fmla="*/ 1211139 w 2676383"/>
              <a:gd name="connsiteY14" fmla="*/ 3533775 h 4914900"/>
              <a:gd name="connsiteX15" fmla="*/ 1363539 w 2676383"/>
              <a:gd name="connsiteY15" fmla="*/ 3086100 h 4914900"/>
              <a:gd name="connsiteX16" fmla="*/ 30039 w 2676383"/>
              <a:gd name="connsiteY16" fmla="*/ 1447800 h 4914900"/>
              <a:gd name="connsiteX17" fmla="*/ 1068264 w 2676383"/>
              <a:gd name="connsiteY17" fmla="*/ 561975 h 4914900"/>
              <a:gd name="connsiteX18" fmla="*/ 1058739 w 2676383"/>
              <a:gd name="connsiteY18" fmla="*/ 0 h 4914900"/>
              <a:gd name="connsiteX0" fmla="*/ 1058739 w 2676383"/>
              <a:gd name="connsiteY0" fmla="*/ 0 h 4914900"/>
              <a:gd name="connsiteX1" fmla="*/ 1706439 w 2676383"/>
              <a:gd name="connsiteY1" fmla="*/ 0 h 4914900"/>
              <a:gd name="connsiteX2" fmla="*/ 1706439 w 2676383"/>
              <a:gd name="connsiteY2" fmla="*/ 523875 h 4914900"/>
              <a:gd name="connsiteX3" fmla="*/ 2497014 w 2676383"/>
              <a:gd name="connsiteY3" fmla="*/ 647700 h 4914900"/>
              <a:gd name="connsiteX4" fmla="*/ 2497014 w 2676383"/>
              <a:gd name="connsiteY4" fmla="*/ 1628775 h 4914900"/>
              <a:gd name="connsiteX5" fmla="*/ 1306389 w 2676383"/>
              <a:gd name="connsiteY5" fmla="*/ 1400175 h 4914900"/>
              <a:gd name="connsiteX6" fmla="*/ 1268289 w 2676383"/>
              <a:gd name="connsiteY6" fmla="*/ 1800225 h 4914900"/>
              <a:gd name="connsiteX7" fmla="*/ 2668464 w 2676383"/>
              <a:gd name="connsiteY7" fmla="*/ 3276600 h 4914900"/>
              <a:gd name="connsiteX8" fmla="*/ 1715964 w 2676383"/>
              <a:gd name="connsiteY8" fmla="*/ 4305300 h 4914900"/>
              <a:gd name="connsiteX9" fmla="*/ 1715964 w 2676383"/>
              <a:gd name="connsiteY9" fmla="*/ 4914900 h 4914900"/>
              <a:gd name="connsiteX10" fmla="*/ 1068264 w 2676383"/>
              <a:gd name="connsiteY10" fmla="*/ 4914900 h 4914900"/>
              <a:gd name="connsiteX11" fmla="*/ 1068264 w 2676383"/>
              <a:gd name="connsiteY11" fmla="*/ 4381500 h 4914900"/>
              <a:gd name="connsiteX12" fmla="*/ 49089 w 2676383"/>
              <a:gd name="connsiteY12" fmla="*/ 4152900 h 4914900"/>
              <a:gd name="connsiteX13" fmla="*/ 49089 w 2676383"/>
              <a:gd name="connsiteY13" fmla="*/ 3133725 h 4914900"/>
              <a:gd name="connsiteX14" fmla="*/ 1211139 w 2676383"/>
              <a:gd name="connsiteY14" fmla="*/ 3533775 h 4914900"/>
              <a:gd name="connsiteX15" fmla="*/ 1363539 w 2676383"/>
              <a:gd name="connsiteY15" fmla="*/ 3086100 h 4914900"/>
              <a:gd name="connsiteX16" fmla="*/ 30039 w 2676383"/>
              <a:gd name="connsiteY16" fmla="*/ 1447800 h 4914900"/>
              <a:gd name="connsiteX17" fmla="*/ 1068264 w 2676383"/>
              <a:gd name="connsiteY17" fmla="*/ 561975 h 4914900"/>
              <a:gd name="connsiteX18" fmla="*/ 1058739 w 2676383"/>
              <a:gd name="connsiteY18" fmla="*/ 0 h 491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76383" h="4914900">
                <a:moveTo>
                  <a:pt x="1058739" y="0"/>
                </a:moveTo>
                <a:lnTo>
                  <a:pt x="1706439" y="0"/>
                </a:lnTo>
                <a:lnTo>
                  <a:pt x="1706439" y="523875"/>
                </a:lnTo>
                <a:cubicBezTo>
                  <a:pt x="2008064" y="531813"/>
                  <a:pt x="2233489" y="573087"/>
                  <a:pt x="2497014" y="647700"/>
                </a:cubicBezTo>
                <a:lnTo>
                  <a:pt x="2497014" y="1628775"/>
                </a:lnTo>
                <a:cubicBezTo>
                  <a:pt x="2047752" y="1390650"/>
                  <a:pt x="1488951" y="1281112"/>
                  <a:pt x="1306389" y="1400175"/>
                </a:cubicBezTo>
                <a:cubicBezTo>
                  <a:pt x="1127001" y="1471613"/>
                  <a:pt x="1142876" y="1714500"/>
                  <a:pt x="1268289" y="1800225"/>
                </a:cubicBezTo>
                <a:cubicBezTo>
                  <a:pt x="1425452" y="2020888"/>
                  <a:pt x="2792289" y="2236787"/>
                  <a:pt x="2668464" y="3276600"/>
                </a:cubicBezTo>
                <a:cubicBezTo>
                  <a:pt x="2608139" y="4000500"/>
                  <a:pt x="1966789" y="4233862"/>
                  <a:pt x="1715964" y="4305300"/>
                </a:cubicBezTo>
                <a:lnTo>
                  <a:pt x="1715964" y="4914900"/>
                </a:lnTo>
                <a:lnTo>
                  <a:pt x="1068264" y="4914900"/>
                </a:lnTo>
                <a:lnTo>
                  <a:pt x="1068264" y="4381500"/>
                </a:lnTo>
                <a:cubicBezTo>
                  <a:pt x="685676" y="4371975"/>
                  <a:pt x="222127" y="4267200"/>
                  <a:pt x="49089" y="4152900"/>
                </a:cubicBezTo>
                <a:lnTo>
                  <a:pt x="49089" y="3133725"/>
                </a:lnTo>
                <a:cubicBezTo>
                  <a:pt x="403102" y="3438525"/>
                  <a:pt x="923802" y="3562350"/>
                  <a:pt x="1211139" y="3533775"/>
                </a:cubicBezTo>
                <a:cubicBezTo>
                  <a:pt x="1490539" y="3503613"/>
                  <a:pt x="1498476" y="3201988"/>
                  <a:pt x="1363539" y="3086100"/>
                </a:cubicBezTo>
                <a:cubicBezTo>
                  <a:pt x="1176215" y="2820987"/>
                  <a:pt x="-220786" y="2727324"/>
                  <a:pt x="30039" y="1447800"/>
                </a:cubicBezTo>
                <a:cubicBezTo>
                  <a:pt x="142751" y="795338"/>
                  <a:pt x="798389" y="585787"/>
                  <a:pt x="1068264" y="561975"/>
                </a:cubicBezTo>
                <a:lnTo>
                  <a:pt x="1058739" y="0"/>
                </a:lnTo>
                <a:close/>
              </a:path>
            </a:pathLst>
          </a:custGeom>
          <a:solidFill>
            <a:srgbClr val="0074AF"/>
          </a:solidFill>
          <a:ln>
            <a:solidFill>
              <a:srgbClr val="0074AF"/>
            </a:solidFill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27" tIns="45713" rIns="45713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924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6014406" y="2184982"/>
            <a:ext cx="385638" cy="367924"/>
            <a:chOff x="9925198" y="4777109"/>
            <a:chExt cx="1042120" cy="1042391"/>
          </a:xfrm>
          <a:solidFill>
            <a:srgbClr val="0074AF"/>
          </a:solidFill>
        </p:grpSpPr>
        <p:sp>
          <p:nvSpPr>
            <p:cNvPr id="127" name="Freeform 126"/>
            <p:cNvSpPr>
              <a:spLocks noEditPoints="1"/>
            </p:cNvSpPr>
            <p:nvPr/>
          </p:nvSpPr>
          <p:spPr bwMode="auto">
            <a:xfrm rot="1394725">
              <a:off x="9925198" y="4777109"/>
              <a:ext cx="1042120" cy="1042391"/>
            </a:xfrm>
            <a:custGeom>
              <a:avLst/>
              <a:gdLst>
                <a:gd name="T0" fmla="*/ 0 w 353"/>
                <a:gd name="T1" fmla="*/ 177 h 353"/>
                <a:gd name="T2" fmla="*/ 177 w 353"/>
                <a:gd name="T3" fmla="*/ 0 h 353"/>
                <a:gd name="T4" fmla="*/ 177 w 353"/>
                <a:gd name="T5" fmla="*/ 0 h 353"/>
                <a:gd name="T6" fmla="*/ 353 w 353"/>
                <a:gd name="T7" fmla="*/ 177 h 353"/>
                <a:gd name="T8" fmla="*/ 353 w 353"/>
                <a:gd name="T9" fmla="*/ 177 h 353"/>
                <a:gd name="T10" fmla="*/ 177 w 353"/>
                <a:gd name="T11" fmla="*/ 353 h 353"/>
                <a:gd name="T12" fmla="*/ 177 w 353"/>
                <a:gd name="T13" fmla="*/ 353 h 353"/>
                <a:gd name="T14" fmla="*/ 0 w 353"/>
                <a:gd name="T15" fmla="*/ 177 h 353"/>
                <a:gd name="T16" fmla="*/ 71 w 353"/>
                <a:gd name="T17" fmla="*/ 71 h 353"/>
                <a:gd name="T18" fmla="*/ 27 w 353"/>
                <a:gd name="T19" fmla="*/ 177 h 353"/>
                <a:gd name="T20" fmla="*/ 27 w 353"/>
                <a:gd name="T21" fmla="*/ 177 h 353"/>
                <a:gd name="T22" fmla="*/ 71 w 353"/>
                <a:gd name="T23" fmla="*/ 283 h 353"/>
                <a:gd name="T24" fmla="*/ 71 w 353"/>
                <a:gd name="T25" fmla="*/ 283 h 353"/>
                <a:gd name="T26" fmla="*/ 177 w 353"/>
                <a:gd name="T27" fmla="*/ 326 h 353"/>
                <a:gd name="T28" fmla="*/ 177 w 353"/>
                <a:gd name="T29" fmla="*/ 326 h 353"/>
                <a:gd name="T30" fmla="*/ 283 w 353"/>
                <a:gd name="T31" fmla="*/ 283 h 353"/>
                <a:gd name="T32" fmla="*/ 283 w 353"/>
                <a:gd name="T33" fmla="*/ 283 h 353"/>
                <a:gd name="T34" fmla="*/ 327 w 353"/>
                <a:gd name="T35" fmla="*/ 177 h 353"/>
                <a:gd name="T36" fmla="*/ 327 w 353"/>
                <a:gd name="T37" fmla="*/ 177 h 353"/>
                <a:gd name="T38" fmla="*/ 283 w 353"/>
                <a:gd name="T39" fmla="*/ 71 h 353"/>
                <a:gd name="T40" fmla="*/ 283 w 353"/>
                <a:gd name="T41" fmla="*/ 71 h 353"/>
                <a:gd name="T42" fmla="*/ 177 w 353"/>
                <a:gd name="T43" fmla="*/ 27 h 353"/>
                <a:gd name="T44" fmla="*/ 177 w 353"/>
                <a:gd name="T45" fmla="*/ 27 h 353"/>
                <a:gd name="T46" fmla="*/ 71 w 353"/>
                <a:gd name="T47" fmla="*/ 7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3" h="353">
                  <a:moveTo>
                    <a:pt x="0" y="177"/>
                  </a:moveTo>
                  <a:cubicBezTo>
                    <a:pt x="0" y="79"/>
                    <a:pt x="79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274" y="0"/>
                    <a:pt x="353" y="79"/>
                    <a:pt x="353" y="177"/>
                  </a:cubicBezTo>
                  <a:cubicBezTo>
                    <a:pt x="353" y="177"/>
                    <a:pt x="353" y="177"/>
                    <a:pt x="353" y="177"/>
                  </a:cubicBezTo>
                  <a:cubicBezTo>
                    <a:pt x="353" y="274"/>
                    <a:pt x="274" y="353"/>
                    <a:pt x="177" y="353"/>
                  </a:cubicBezTo>
                  <a:cubicBezTo>
                    <a:pt x="177" y="353"/>
                    <a:pt x="177" y="353"/>
                    <a:pt x="177" y="353"/>
                  </a:cubicBezTo>
                  <a:cubicBezTo>
                    <a:pt x="79" y="353"/>
                    <a:pt x="0" y="274"/>
                    <a:pt x="0" y="177"/>
                  </a:cubicBezTo>
                  <a:close/>
                  <a:moveTo>
                    <a:pt x="71" y="71"/>
                  </a:moveTo>
                  <a:cubicBezTo>
                    <a:pt x="44" y="98"/>
                    <a:pt x="27" y="135"/>
                    <a:pt x="27" y="177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7" y="218"/>
                    <a:pt x="44" y="255"/>
                    <a:pt x="71" y="283"/>
                  </a:cubicBezTo>
                  <a:cubicBezTo>
                    <a:pt x="71" y="283"/>
                    <a:pt x="71" y="283"/>
                    <a:pt x="71" y="283"/>
                  </a:cubicBezTo>
                  <a:cubicBezTo>
                    <a:pt x="98" y="310"/>
                    <a:pt x="135" y="326"/>
                    <a:pt x="177" y="326"/>
                  </a:cubicBezTo>
                  <a:cubicBezTo>
                    <a:pt x="177" y="326"/>
                    <a:pt x="177" y="326"/>
                    <a:pt x="177" y="326"/>
                  </a:cubicBezTo>
                  <a:cubicBezTo>
                    <a:pt x="218" y="326"/>
                    <a:pt x="256" y="310"/>
                    <a:pt x="283" y="283"/>
                  </a:cubicBezTo>
                  <a:cubicBezTo>
                    <a:pt x="283" y="283"/>
                    <a:pt x="283" y="283"/>
                    <a:pt x="283" y="283"/>
                  </a:cubicBezTo>
                  <a:cubicBezTo>
                    <a:pt x="310" y="255"/>
                    <a:pt x="327" y="218"/>
                    <a:pt x="327" y="177"/>
                  </a:cubicBezTo>
                  <a:cubicBezTo>
                    <a:pt x="327" y="177"/>
                    <a:pt x="327" y="177"/>
                    <a:pt x="327" y="177"/>
                  </a:cubicBezTo>
                  <a:cubicBezTo>
                    <a:pt x="327" y="135"/>
                    <a:pt x="310" y="98"/>
                    <a:pt x="283" y="71"/>
                  </a:cubicBezTo>
                  <a:cubicBezTo>
                    <a:pt x="283" y="71"/>
                    <a:pt x="283" y="71"/>
                    <a:pt x="283" y="71"/>
                  </a:cubicBezTo>
                  <a:cubicBezTo>
                    <a:pt x="256" y="44"/>
                    <a:pt x="218" y="27"/>
                    <a:pt x="177" y="27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35" y="27"/>
                    <a:pt x="98" y="44"/>
                    <a:pt x="7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765">
                <a:solidFill>
                  <a:srgbClr val="000000"/>
                </a:solidFill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0072478" y="4924428"/>
              <a:ext cx="747560" cy="747754"/>
              <a:chOff x="10072478" y="4924428"/>
              <a:chExt cx="747560" cy="747754"/>
            </a:xfrm>
            <a:grpFill/>
          </p:grpSpPr>
          <p:sp>
            <p:nvSpPr>
              <p:cNvPr id="128" name="Freeform 127"/>
              <p:cNvSpPr>
                <a:spLocks noEditPoints="1"/>
              </p:cNvSpPr>
              <p:nvPr/>
            </p:nvSpPr>
            <p:spPr bwMode="auto">
              <a:xfrm rot="1394725">
                <a:off x="10072478" y="4924428"/>
                <a:ext cx="747560" cy="747754"/>
              </a:xfrm>
              <a:custGeom>
                <a:avLst/>
                <a:gdLst>
                  <a:gd name="T0" fmla="*/ 0 w 253"/>
                  <a:gd name="T1" fmla="*/ 127 h 253"/>
                  <a:gd name="T2" fmla="*/ 46 w 253"/>
                  <a:gd name="T3" fmla="*/ 29 h 253"/>
                  <a:gd name="T4" fmla="*/ 46 w 253"/>
                  <a:gd name="T5" fmla="*/ 29 h 253"/>
                  <a:gd name="T6" fmla="*/ 54 w 253"/>
                  <a:gd name="T7" fmla="*/ 39 h 253"/>
                  <a:gd name="T8" fmla="*/ 13 w 253"/>
                  <a:gd name="T9" fmla="*/ 127 h 253"/>
                  <a:gd name="T10" fmla="*/ 13 w 253"/>
                  <a:gd name="T11" fmla="*/ 127 h 253"/>
                  <a:gd name="T12" fmla="*/ 127 w 253"/>
                  <a:gd name="T13" fmla="*/ 241 h 253"/>
                  <a:gd name="T14" fmla="*/ 127 w 253"/>
                  <a:gd name="T15" fmla="*/ 241 h 253"/>
                  <a:gd name="T16" fmla="*/ 241 w 253"/>
                  <a:gd name="T17" fmla="*/ 127 h 253"/>
                  <a:gd name="T18" fmla="*/ 241 w 253"/>
                  <a:gd name="T19" fmla="*/ 127 h 253"/>
                  <a:gd name="T20" fmla="*/ 127 w 253"/>
                  <a:gd name="T21" fmla="*/ 13 h 253"/>
                  <a:gd name="T22" fmla="*/ 127 w 253"/>
                  <a:gd name="T23" fmla="*/ 13 h 253"/>
                  <a:gd name="T24" fmla="*/ 110 w 253"/>
                  <a:gd name="T25" fmla="*/ 14 h 253"/>
                  <a:gd name="T26" fmla="*/ 110 w 253"/>
                  <a:gd name="T27" fmla="*/ 14 h 253"/>
                  <a:gd name="T28" fmla="*/ 108 w 253"/>
                  <a:gd name="T29" fmla="*/ 2 h 253"/>
                  <a:gd name="T30" fmla="*/ 127 w 253"/>
                  <a:gd name="T31" fmla="*/ 0 h 253"/>
                  <a:gd name="T32" fmla="*/ 127 w 253"/>
                  <a:gd name="T33" fmla="*/ 0 h 253"/>
                  <a:gd name="T34" fmla="*/ 253 w 253"/>
                  <a:gd name="T35" fmla="*/ 127 h 253"/>
                  <a:gd name="T36" fmla="*/ 253 w 253"/>
                  <a:gd name="T37" fmla="*/ 127 h 253"/>
                  <a:gd name="T38" fmla="*/ 127 w 253"/>
                  <a:gd name="T39" fmla="*/ 253 h 253"/>
                  <a:gd name="T40" fmla="*/ 127 w 253"/>
                  <a:gd name="T41" fmla="*/ 253 h 253"/>
                  <a:gd name="T42" fmla="*/ 0 w 253"/>
                  <a:gd name="T43" fmla="*/ 127 h 253"/>
                  <a:gd name="T44" fmla="*/ 110 w 253"/>
                  <a:gd name="T45" fmla="*/ 14 h 253"/>
                  <a:gd name="T46" fmla="*/ 110 w 253"/>
                  <a:gd name="T47" fmla="*/ 14 h 253"/>
                  <a:gd name="T48" fmla="*/ 110 w 253"/>
                  <a:gd name="T49" fmla="*/ 14 h 253"/>
                  <a:gd name="T50" fmla="*/ 110 w 253"/>
                  <a:gd name="T51" fmla="*/ 14 h 253"/>
                  <a:gd name="T52" fmla="*/ 110 w 253"/>
                  <a:gd name="T53" fmla="*/ 14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53" h="253">
                    <a:moveTo>
                      <a:pt x="0" y="127"/>
                    </a:moveTo>
                    <a:cubicBezTo>
                      <a:pt x="0" y="87"/>
                      <a:pt x="18" y="52"/>
                      <a:pt x="46" y="29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29" y="60"/>
                      <a:pt x="13" y="91"/>
                      <a:pt x="13" y="127"/>
                    </a:cubicBezTo>
                    <a:cubicBezTo>
                      <a:pt x="13" y="127"/>
                      <a:pt x="13" y="127"/>
                      <a:pt x="13" y="127"/>
                    </a:cubicBezTo>
                    <a:cubicBezTo>
                      <a:pt x="13" y="190"/>
                      <a:pt x="64" y="240"/>
                      <a:pt x="127" y="241"/>
                    </a:cubicBezTo>
                    <a:cubicBezTo>
                      <a:pt x="127" y="241"/>
                      <a:pt x="127" y="241"/>
                      <a:pt x="127" y="241"/>
                    </a:cubicBezTo>
                    <a:cubicBezTo>
                      <a:pt x="190" y="240"/>
                      <a:pt x="241" y="190"/>
                      <a:pt x="241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1" y="64"/>
                      <a:pt x="190" y="13"/>
                      <a:pt x="127" y="13"/>
                    </a:cubicBezTo>
                    <a:cubicBezTo>
                      <a:pt x="127" y="13"/>
                      <a:pt x="127" y="13"/>
                      <a:pt x="127" y="13"/>
                    </a:cubicBezTo>
                    <a:cubicBezTo>
                      <a:pt x="121" y="13"/>
                      <a:pt x="116" y="13"/>
                      <a:pt x="110" y="14"/>
                    </a:cubicBezTo>
                    <a:cubicBezTo>
                      <a:pt x="110" y="14"/>
                      <a:pt x="110" y="14"/>
                      <a:pt x="110" y="14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14" y="1"/>
                      <a:pt x="121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97" y="0"/>
                      <a:pt x="253" y="57"/>
                      <a:pt x="253" y="127"/>
                    </a:cubicBezTo>
                    <a:cubicBezTo>
                      <a:pt x="253" y="127"/>
                      <a:pt x="253" y="127"/>
                      <a:pt x="253" y="127"/>
                    </a:cubicBezTo>
                    <a:cubicBezTo>
                      <a:pt x="253" y="196"/>
                      <a:pt x="197" y="253"/>
                      <a:pt x="127" y="253"/>
                    </a:cubicBezTo>
                    <a:cubicBezTo>
                      <a:pt x="127" y="253"/>
                      <a:pt x="127" y="253"/>
                      <a:pt x="127" y="253"/>
                    </a:cubicBezTo>
                    <a:cubicBezTo>
                      <a:pt x="57" y="253"/>
                      <a:pt x="0" y="196"/>
                      <a:pt x="0" y="127"/>
                    </a:cubicBezTo>
                    <a:close/>
                    <a:moveTo>
                      <a:pt x="110" y="14"/>
                    </a:moveTo>
                    <a:cubicBezTo>
                      <a:pt x="110" y="14"/>
                      <a:pt x="110" y="14"/>
                      <a:pt x="110" y="14"/>
                    </a:cubicBezTo>
                    <a:cubicBezTo>
                      <a:pt x="110" y="14"/>
                      <a:pt x="110" y="14"/>
                      <a:pt x="110" y="14"/>
                    </a:cubicBezTo>
                    <a:cubicBezTo>
                      <a:pt x="110" y="14"/>
                      <a:pt x="110" y="14"/>
                      <a:pt x="110" y="14"/>
                    </a:cubicBezTo>
                    <a:cubicBezTo>
                      <a:pt x="110" y="14"/>
                      <a:pt x="110" y="14"/>
                      <a:pt x="11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 rot="20205275" flipH="1">
                <a:off x="10299156" y="4929936"/>
                <a:ext cx="325802" cy="484366"/>
              </a:xfrm>
              <a:custGeom>
                <a:avLst/>
                <a:gdLst>
                  <a:gd name="T0" fmla="*/ 98 w 110"/>
                  <a:gd name="T1" fmla="*/ 118 h 164"/>
                  <a:gd name="T2" fmla="*/ 97 w 110"/>
                  <a:gd name="T3" fmla="*/ 114 h 164"/>
                  <a:gd name="T4" fmla="*/ 110 w 110"/>
                  <a:gd name="T5" fmla="*/ 106 h 164"/>
                  <a:gd name="T6" fmla="*/ 105 w 110"/>
                  <a:gd name="T7" fmla="*/ 98 h 164"/>
                  <a:gd name="T8" fmla="*/ 92 w 110"/>
                  <a:gd name="T9" fmla="*/ 105 h 164"/>
                  <a:gd name="T10" fmla="*/ 79 w 110"/>
                  <a:gd name="T11" fmla="*/ 100 h 164"/>
                  <a:gd name="T12" fmla="*/ 77 w 110"/>
                  <a:gd name="T13" fmla="*/ 100 h 164"/>
                  <a:gd name="T14" fmla="*/ 54 w 110"/>
                  <a:gd name="T15" fmla="*/ 45 h 164"/>
                  <a:gd name="T16" fmla="*/ 52 w 110"/>
                  <a:gd name="T17" fmla="*/ 22 h 164"/>
                  <a:gd name="T18" fmla="*/ 27 w 110"/>
                  <a:gd name="T19" fmla="*/ 0 h 164"/>
                  <a:gd name="T20" fmla="*/ 26 w 110"/>
                  <a:gd name="T21" fmla="*/ 33 h 164"/>
                  <a:gd name="T22" fmla="*/ 42 w 110"/>
                  <a:gd name="T23" fmla="*/ 51 h 164"/>
                  <a:gd name="T24" fmla="*/ 67 w 110"/>
                  <a:gd name="T25" fmla="*/ 104 h 164"/>
                  <a:gd name="T26" fmla="*/ 60 w 110"/>
                  <a:gd name="T27" fmla="*/ 118 h 164"/>
                  <a:gd name="T28" fmla="*/ 61 w 110"/>
                  <a:gd name="T29" fmla="*/ 121 h 164"/>
                  <a:gd name="T30" fmla="*/ 42 w 110"/>
                  <a:gd name="T31" fmla="*/ 131 h 164"/>
                  <a:gd name="T32" fmla="*/ 19 w 110"/>
                  <a:gd name="T33" fmla="*/ 136 h 164"/>
                  <a:gd name="T34" fmla="*/ 0 w 110"/>
                  <a:gd name="T35" fmla="*/ 164 h 164"/>
                  <a:gd name="T36" fmla="*/ 33 w 110"/>
                  <a:gd name="T37" fmla="*/ 161 h 164"/>
                  <a:gd name="T38" fmla="*/ 49 w 110"/>
                  <a:gd name="T39" fmla="*/ 144 h 164"/>
                  <a:gd name="T40" fmla="*/ 67 w 110"/>
                  <a:gd name="T41" fmla="*/ 132 h 164"/>
                  <a:gd name="T42" fmla="*/ 79 w 110"/>
                  <a:gd name="T43" fmla="*/ 137 h 164"/>
                  <a:gd name="T44" fmla="*/ 82 w 110"/>
                  <a:gd name="T45" fmla="*/ 137 h 164"/>
                  <a:gd name="T46" fmla="*/ 88 w 110"/>
                  <a:gd name="T47" fmla="*/ 150 h 164"/>
                  <a:gd name="T48" fmla="*/ 97 w 110"/>
                  <a:gd name="T49" fmla="*/ 146 h 164"/>
                  <a:gd name="T50" fmla="*/ 91 w 110"/>
                  <a:gd name="T51" fmla="*/ 132 h 164"/>
                  <a:gd name="T52" fmla="*/ 98 w 110"/>
                  <a:gd name="T53" fmla="*/ 11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0" h="164">
                    <a:moveTo>
                      <a:pt x="98" y="118"/>
                    </a:moveTo>
                    <a:cubicBezTo>
                      <a:pt x="98" y="117"/>
                      <a:pt x="97" y="115"/>
                      <a:pt x="97" y="114"/>
                    </a:cubicBezTo>
                    <a:cubicBezTo>
                      <a:pt x="110" y="106"/>
                      <a:pt x="110" y="106"/>
                      <a:pt x="110" y="106"/>
                    </a:cubicBezTo>
                    <a:cubicBezTo>
                      <a:pt x="105" y="98"/>
                      <a:pt x="105" y="98"/>
                      <a:pt x="105" y="98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88" y="102"/>
                      <a:pt x="84" y="100"/>
                      <a:pt x="79" y="100"/>
                    </a:cubicBezTo>
                    <a:cubicBezTo>
                      <a:pt x="78" y="100"/>
                      <a:pt x="78" y="100"/>
                      <a:pt x="77" y="100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3" y="108"/>
                      <a:pt x="60" y="113"/>
                      <a:pt x="60" y="118"/>
                    </a:cubicBezTo>
                    <a:cubicBezTo>
                      <a:pt x="60" y="119"/>
                      <a:pt x="60" y="120"/>
                      <a:pt x="61" y="121"/>
                    </a:cubicBezTo>
                    <a:cubicBezTo>
                      <a:pt x="42" y="131"/>
                      <a:pt x="42" y="131"/>
                      <a:pt x="42" y="131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33" y="161"/>
                      <a:pt x="33" y="161"/>
                      <a:pt x="33" y="161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67" y="132"/>
                      <a:pt x="67" y="132"/>
                      <a:pt x="67" y="132"/>
                    </a:cubicBezTo>
                    <a:cubicBezTo>
                      <a:pt x="70" y="135"/>
                      <a:pt x="74" y="137"/>
                      <a:pt x="79" y="137"/>
                    </a:cubicBezTo>
                    <a:cubicBezTo>
                      <a:pt x="80" y="137"/>
                      <a:pt x="81" y="137"/>
                      <a:pt x="82" y="137"/>
                    </a:cubicBezTo>
                    <a:cubicBezTo>
                      <a:pt x="88" y="150"/>
                      <a:pt x="88" y="150"/>
                      <a:pt x="88" y="150"/>
                    </a:cubicBezTo>
                    <a:cubicBezTo>
                      <a:pt x="97" y="146"/>
                      <a:pt x="97" y="146"/>
                      <a:pt x="97" y="146"/>
                    </a:cubicBezTo>
                    <a:cubicBezTo>
                      <a:pt x="91" y="132"/>
                      <a:pt x="91" y="132"/>
                      <a:pt x="91" y="132"/>
                    </a:cubicBezTo>
                    <a:cubicBezTo>
                      <a:pt x="95" y="129"/>
                      <a:pt x="98" y="124"/>
                      <a:pt x="98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3</a:t>
            </a:fld>
            <a:endParaRPr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95" name="Donut 80"/>
          <p:cNvSpPr/>
          <p:nvPr/>
        </p:nvSpPr>
        <p:spPr bwMode="auto">
          <a:xfrm>
            <a:off x="2491992" y="3799043"/>
            <a:ext cx="414806" cy="391139"/>
          </a:xfrm>
          <a:custGeom>
            <a:avLst/>
            <a:gdLst/>
            <a:ahLst/>
            <a:cxnLst/>
            <a:rect l="l" t="t" r="r" b="b"/>
            <a:pathLst>
              <a:path w="4812161" h="3840901">
                <a:moveTo>
                  <a:pt x="3296159" y="2000287"/>
                </a:moveTo>
                <a:cubicBezTo>
                  <a:pt x="3116881" y="2000287"/>
                  <a:pt x="2971547" y="2145621"/>
                  <a:pt x="2971547" y="2324899"/>
                </a:cubicBezTo>
                <a:cubicBezTo>
                  <a:pt x="2971547" y="2504177"/>
                  <a:pt x="3116881" y="2649511"/>
                  <a:pt x="3296159" y="2649511"/>
                </a:cubicBezTo>
                <a:cubicBezTo>
                  <a:pt x="3475437" y="2649511"/>
                  <a:pt x="3620771" y="2504177"/>
                  <a:pt x="3620771" y="2324899"/>
                </a:cubicBezTo>
                <a:cubicBezTo>
                  <a:pt x="3620771" y="2145621"/>
                  <a:pt x="3475437" y="2000287"/>
                  <a:pt x="3296159" y="2000287"/>
                </a:cubicBezTo>
                <a:close/>
                <a:moveTo>
                  <a:pt x="3296159" y="1675675"/>
                </a:moveTo>
                <a:cubicBezTo>
                  <a:pt x="3654716" y="1675675"/>
                  <a:pt x="3945383" y="1966342"/>
                  <a:pt x="3945383" y="2324899"/>
                </a:cubicBezTo>
                <a:cubicBezTo>
                  <a:pt x="3945383" y="2683456"/>
                  <a:pt x="3654716" y="2974123"/>
                  <a:pt x="3296159" y="2974123"/>
                </a:cubicBezTo>
                <a:cubicBezTo>
                  <a:pt x="2937602" y="2974123"/>
                  <a:pt x="2646935" y="2683456"/>
                  <a:pt x="2646935" y="2324899"/>
                </a:cubicBezTo>
                <a:cubicBezTo>
                  <a:pt x="2646935" y="1966342"/>
                  <a:pt x="2937602" y="1675675"/>
                  <a:pt x="3296159" y="1675675"/>
                </a:cubicBezTo>
                <a:close/>
                <a:moveTo>
                  <a:pt x="3296159" y="1420210"/>
                </a:moveTo>
                <a:cubicBezTo>
                  <a:pt x="2796513" y="1420210"/>
                  <a:pt x="2391470" y="1825253"/>
                  <a:pt x="2391470" y="2324899"/>
                </a:cubicBezTo>
                <a:cubicBezTo>
                  <a:pt x="2391470" y="2824545"/>
                  <a:pt x="2796513" y="3229588"/>
                  <a:pt x="3296159" y="3229588"/>
                </a:cubicBezTo>
                <a:cubicBezTo>
                  <a:pt x="3795805" y="3229588"/>
                  <a:pt x="4200848" y="2824545"/>
                  <a:pt x="4200848" y="2324899"/>
                </a:cubicBezTo>
                <a:cubicBezTo>
                  <a:pt x="4200848" y="1825253"/>
                  <a:pt x="3795805" y="1420210"/>
                  <a:pt x="3296159" y="1420210"/>
                </a:cubicBezTo>
                <a:close/>
                <a:moveTo>
                  <a:pt x="3296159" y="808897"/>
                </a:moveTo>
                <a:cubicBezTo>
                  <a:pt x="3370288" y="808897"/>
                  <a:pt x="3443173" y="814218"/>
                  <a:pt x="3514208" y="826185"/>
                </a:cubicBezTo>
                <a:cubicBezTo>
                  <a:pt x="3590275" y="1345671"/>
                  <a:pt x="4110542" y="1236614"/>
                  <a:pt x="4171519" y="1171489"/>
                </a:cubicBezTo>
                <a:lnTo>
                  <a:pt x="4215967" y="1123398"/>
                </a:lnTo>
                <a:cubicBezTo>
                  <a:pt x="4326392" y="1205433"/>
                  <a:pt x="4423576" y="1303917"/>
                  <a:pt x="4506024" y="1414131"/>
                </a:cubicBezTo>
                <a:cubicBezTo>
                  <a:pt x="4193319" y="1914120"/>
                  <a:pt x="4701014" y="2151102"/>
                  <a:pt x="4799529" y="2138412"/>
                </a:cubicBezTo>
                <a:cubicBezTo>
                  <a:pt x="4808295" y="2199419"/>
                  <a:pt x="4812161" y="2261708"/>
                  <a:pt x="4812161" y="2324899"/>
                </a:cubicBezTo>
                <a:cubicBezTo>
                  <a:pt x="4812161" y="2388615"/>
                  <a:pt x="4808231" y="2451413"/>
                  <a:pt x="4799054" y="2512849"/>
                </a:cubicBezTo>
                <a:cubicBezTo>
                  <a:pt x="4788113" y="2515889"/>
                  <a:pt x="4778304" y="2519618"/>
                  <a:pt x="4769770" y="2523906"/>
                </a:cubicBezTo>
                <a:lnTo>
                  <a:pt x="4769199" y="2523774"/>
                </a:lnTo>
                <a:cubicBezTo>
                  <a:pt x="4276600" y="2692966"/>
                  <a:pt x="4408190" y="3103551"/>
                  <a:pt x="4504674" y="3235631"/>
                </a:cubicBezTo>
                <a:cubicBezTo>
                  <a:pt x="4424185" y="3345698"/>
                  <a:pt x="4327453" y="3442859"/>
                  <a:pt x="4219101" y="3525661"/>
                </a:cubicBezTo>
                <a:cubicBezTo>
                  <a:pt x="3740127" y="3239817"/>
                  <a:pt x="3508490" y="3714698"/>
                  <a:pt x="3512861" y="3823658"/>
                </a:cubicBezTo>
                <a:cubicBezTo>
                  <a:pt x="3442266" y="3835647"/>
                  <a:pt x="3369826" y="3840901"/>
                  <a:pt x="3296159" y="3840901"/>
                </a:cubicBezTo>
                <a:cubicBezTo>
                  <a:pt x="3223977" y="3840901"/>
                  <a:pt x="3152974" y="3835857"/>
                  <a:pt x="3083692" y="3824633"/>
                </a:cubicBezTo>
                <a:cubicBezTo>
                  <a:pt x="2945132" y="3289289"/>
                  <a:pt x="2478158" y="3436602"/>
                  <a:pt x="2372141" y="3523198"/>
                </a:cubicBezTo>
                <a:cubicBezTo>
                  <a:pt x="2262805" y="3441349"/>
                  <a:pt x="2166565" y="3343329"/>
                  <a:pt x="2084868" y="3233760"/>
                </a:cubicBezTo>
                <a:cubicBezTo>
                  <a:pt x="2372460" y="2758314"/>
                  <a:pt x="1912484" y="2524914"/>
                  <a:pt x="1794482" y="2522480"/>
                </a:cubicBezTo>
                <a:cubicBezTo>
                  <a:pt x="1784508" y="2457948"/>
                  <a:pt x="1780157" y="2391932"/>
                  <a:pt x="1780157" y="2324899"/>
                </a:cubicBezTo>
                <a:cubicBezTo>
                  <a:pt x="1780157" y="2258743"/>
                  <a:pt x="1784395" y="2193577"/>
                  <a:pt x="1793487" y="2129772"/>
                </a:cubicBezTo>
                <a:cubicBezTo>
                  <a:pt x="2324943" y="2022144"/>
                  <a:pt x="2174743" y="1501516"/>
                  <a:pt x="2104500" y="1445028"/>
                </a:cubicBezTo>
                <a:lnTo>
                  <a:pt x="2079323" y="1425048"/>
                </a:lnTo>
                <a:cubicBezTo>
                  <a:pt x="2158206" y="1315063"/>
                  <a:pt x="2253175" y="1217660"/>
                  <a:pt x="2359684" y="1134258"/>
                </a:cubicBezTo>
                <a:cubicBezTo>
                  <a:pt x="2861568" y="1444701"/>
                  <a:pt x="3096870" y="926345"/>
                  <a:pt x="3079479" y="835441"/>
                </a:cubicBezTo>
                <a:lnTo>
                  <a:pt x="3077691" y="826410"/>
                </a:lnTo>
                <a:cubicBezTo>
                  <a:pt x="3148845" y="814239"/>
                  <a:pt x="3221878" y="808897"/>
                  <a:pt x="3296159" y="808897"/>
                </a:cubicBezTo>
                <a:close/>
                <a:moveTo>
                  <a:pt x="1005840" y="789098"/>
                </a:moveTo>
                <a:cubicBezTo>
                  <a:pt x="886892" y="789098"/>
                  <a:pt x="790466" y="885357"/>
                  <a:pt x="790466" y="1004099"/>
                </a:cubicBezTo>
                <a:cubicBezTo>
                  <a:pt x="790466" y="1122841"/>
                  <a:pt x="886892" y="1219101"/>
                  <a:pt x="1005840" y="1219101"/>
                </a:cubicBezTo>
                <a:cubicBezTo>
                  <a:pt x="1124788" y="1219101"/>
                  <a:pt x="1221214" y="1122841"/>
                  <a:pt x="1221214" y="1004099"/>
                </a:cubicBezTo>
                <a:cubicBezTo>
                  <a:pt x="1221214" y="885357"/>
                  <a:pt x="1124788" y="789098"/>
                  <a:pt x="1005840" y="789098"/>
                </a:cubicBezTo>
                <a:close/>
                <a:moveTo>
                  <a:pt x="1005840" y="574096"/>
                </a:moveTo>
                <a:cubicBezTo>
                  <a:pt x="1243736" y="574096"/>
                  <a:pt x="1436589" y="766615"/>
                  <a:pt x="1436589" y="1004099"/>
                </a:cubicBezTo>
                <a:cubicBezTo>
                  <a:pt x="1436589" y="1241584"/>
                  <a:pt x="1243736" y="1434102"/>
                  <a:pt x="1005840" y="1434102"/>
                </a:cubicBezTo>
                <a:cubicBezTo>
                  <a:pt x="767944" y="1434102"/>
                  <a:pt x="575092" y="1241584"/>
                  <a:pt x="575092" y="1004099"/>
                </a:cubicBezTo>
                <a:cubicBezTo>
                  <a:pt x="575092" y="766615"/>
                  <a:pt x="767944" y="574096"/>
                  <a:pt x="1005840" y="574096"/>
                </a:cubicBezTo>
                <a:close/>
                <a:moveTo>
                  <a:pt x="1005840" y="404893"/>
                </a:moveTo>
                <a:cubicBezTo>
                  <a:pt x="674334" y="404893"/>
                  <a:pt x="405595" y="673167"/>
                  <a:pt x="405595" y="1004099"/>
                </a:cubicBezTo>
                <a:cubicBezTo>
                  <a:pt x="405595" y="1335031"/>
                  <a:pt x="674334" y="1603305"/>
                  <a:pt x="1005840" y="1603305"/>
                </a:cubicBezTo>
                <a:cubicBezTo>
                  <a:pt x="1337346" y="1603305"/>
                  <a:pt x="1606085" y="1335031"/>
                  <a:pt x="1606085" y="1004099"/>
                </a:cubicBezTo>
                <a:cubicBezTo>
                  <a:pt x="1606085" y="673167"/>
                  <a:pt x="1337346" y="404893"/>
                  <a:pt x="1005840" y="404893"/>
                </a:cubicBezTo>
                <a:close/>
                <a:moveTo>
                  <a:pt x="1005840" y="0"/>
                </a:moveTo>
                <a:cubicBezTo>
                  <a:pt x="1055023" y="0"/>
                  <a:pt x="1103381" y="3524"/>
                  <a:pt x="1150512" y="11450"/>
                </a:cubicBezTo>
                <a:cubicBezTo>
                  <a:pt x="1200981" y="355524"/>
                  <a:pt x="1546169" y="283291"/>
                  <a:pt x="1586626" y="240157"/>
                </a:cubicBezTo>
                <a:lnTo>
                  <a:pt x="1616116" y="208305"/>
                </a:lnTo>
                <a:cubicBezTo>
                  <a:pt x="1689381" y="262639"/>
                  <a:pt x="1753861" y="327868"/>
                  <a:pt x="1808564" y="400867"/>
                </a:cubicBezTo>
                <a:cubicBezTo>
                  <a:pt x="1601090" y="732026"/>
                  <a:pt x="1937936" y="888988"/>
                  <a:pt x="2003299" y="880583"/>
                </a:cubicBezTo>
                <a:cubicBezTo>
                  <a:pt x="2009115" y="920990"/>
                  <a:pt x="2011680" y="962246"/>
                  <a:pt x="2011680" y="1004099"/>
                </a:cubicBezTo>
                <a:cubicBezTo>
                  <a:pt x="2011680" y="1046300"/>
                  <a:pt x="2009073" y="1087894"/>
                  <a:pt x="2002984" y="1128585"/>
                </a:cubicBezTo>
                <a:cubicBezTo>
                  <a:pt x="1995725" y="1130598"/>
                  <a:pt x="1989217" y="1133068"/>
                  <a:pt x="1983554" y="1135908"/>
                </a:cubicBezTo>
                <a:lnTo>
                  <a:pt x="1983176" y="1135821"/>
                </a:lnTo>
                <a:cubicBezTo>
                  <a:pt x="1656345" y="1247882"/>
                  <a:pt x="1743653" y="1519827"/>
                  <a:pt x="1807668" y="1607308"/>
                </a:cubicBezTo>
                <a:cubicBezTo>
                  <a:pt x="1754265" y="1680209"/>
                  <a:pt x="1690085" y="1744562"/>
                  <a:pt x="1618196" y="1799404"/>
                </a:cubicBezTo>
                <a:cubicBezTo>
                  <a:pt x="1300405" y="1610080"/>
                  <a:pt x="1146718" y="1924610"/>
                  <a:pt x="1149618" y="1996778"/>
                </a:cubicBezTo>
                <a:cubicBezTo>
                  <a:pt x="1102780" y="2004718"/>
                  <a:pt x="1054717" y="2008198"/>
                  <a:pt x="1005840" y="2008198"/>
                </a:cubicBezTo>
                <a:cubicBezTo>
                  <a:pt x="957949" y="2008198"/>
                  <a:pt x="910840" y="2004857"/>
                  <a:pt x="864872" y="1997423"/>
                </a:cubicBezTo>
                <a:cubicBezTo>
                  <a:pt x="772940" y="1642847"/>
                  <a:pt x="463111" y="1740417"/>
                  <a:pt x="392771" y="1797773"/>
                </a:cubicBezTo>
                <a:cubicBezTo>
                  <a:pt x="320228" y="1743561"/>
                  <a:pt x="256375" y="1678640"/>
                  <a:pt x="202170" y="1606068"/>
                </a:cubicBezTo>
                <a:cubicBezTo>
                  <a:pt x="392982" y="1291164"/>
                  <a:pt x="87797" y="1136576"/>
                  <a:pt x="9505" y="1134964"/>
                </a:cubicBezTo>
                <a:cubicBezTo>
                  <a:pt x="2887" y="1092222"/>
                  <a:pt x="0" y="1048497"/>
                  <a:pt x="0" y="1004099"/>
                </a:cubicBezTo>
                <a:cubicBezTo>
                  <a:pt x="0" y="960282"/>
                  <a:pt x="2812" y="917120"/>
                  <a:pt x="8844" y="874860"/>
                </a:cubicBezTo>
                <a:cubicBezTo>
                  <a:pt x="361456" y="803574"/>
                  <a:pt x="261801" y="458745"/>
                  <a:pt x="215196" y="421331"/>
                </a:cubicBezTo>
                <a:lnTo>
                  <a:pt x="198491" y="408098"/>
                </a:lnTo>
                <a:cubicBezTo>
                  <a:pt x="250829" y="335251"/>
                  <a:pt x="313839" y="270738"/>
                  <a:pt x="384506" y="215498"/>
                </a:cubicBezTo>
                <a:cubicBezTo>
                  <a:pt x="717497" y="421114"/>
                  <a:pt x="873616" y="77790"/>
                  <a:pt x="862077" y="17581"/>
                </a:cubicBezTo>
                <a:lnTo>
                  <a:pt x="860891" y="11600"/>
                </a:lnTo>
                <a:cubicBezTo>
                  <a:pt x="908100" y="3538"/>
                  <a:pt x="956556" y="0"/>
                  <a:pt x="1005840" y="0"/>
                </a:cubicBezTo>
                <a:close/>
              </a:path>
            </a:pathLst>
          </a:custGeom>
          <a:solidFill>
            <a:srgbClr val="0074AF"/>
          </a:solidFill>
          <a:ln>
            <a:solidFill>
              <a:srgbClr val="0074AF"/>
            </a:solidFill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1400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319492" y="4268429"/>
            <a:ext cx="372996" cy="500080"/>
            <a:chOff x="7688569" y="3019296"/>
            <a:chExt cx="907344" cy="1254703"/>
          </a:xfrm>
          <a:solidFill>
            <a:srgbClr val="0074AF"/>
          </a:solidFill>
        </p:grpSpPr>
        <p:grpSp>
          <p:nvGrpSpPr>
            <p:cNvPr id="99" name="Group 98"/>
            <p:cNvGrpSpPr/>
            <p:nvPr/>
          </p:nvGrpSpPr>
          <p:grpSpPr bwMode="black">
            <a:xfrm>
              <a:off x="7928590" y="3224209"/>
              <a:ext cx="429598" cy="1049790"/>
              <a:chOff x="3233738" y="168276"/>
              <a:chExt cx="2651125" cy="6480174"/>
            </a:xfrm>
            <a:grpFill/>
          </p:grpSpPr>
          <p:sp>
            <p:nvSpPr>
              <p:cNvPr id="141" name="Freeform 140"/>
              <p:cNvSpPr>
                <a:spLocks/>
              </p:cNvSpPr>
              <p:nvPr/>
            </p:nvSpPr>
            <p:spPr bwMode="black">
              <a:xfrm>
                <a:off x="3679825" y="5110163"/>
                <a:ext cx="2028825" cy="1538287"/>
              </a:xfrm>
              <a:custGeom>
                <a:avLst/>
                <a:gdLst>
                  <a:gd name="T0" fmla="*/ 422 w 541"/>
                  <a:gd name="T1" fmla="*/ 196 h 410"/>
                  <a:gd name="T2" fmla="*/ 536 w 541"/>
                  <a:gd name="T3" fmla="*/ 14 h 410"/>
                  <a:gd name="T4" fmla="*/ 528 w 541"/>
                  <a:gd name="T5" fmla="*/ 0 h 410"/>
                  <a:gd name="T6" fmla="*/ 12 w 541"/>
                  <a:gd name="T7" fmla="*/ 0 h 410"/>
                  <a:gd name="T8" fmla="*/ 5 w 541"/>
                  <a:gd name="T9" fmla="*/ 14 h 410"/>
                  <a:gd name="T10" fmla="*/ 138 w 541"/>
                  <a:gd name="T11" fmla="*/ 197 h 410"/>
                  <a:gd name="T12" fmla="*/ 149 w 541"/>
                  <a:gd name="T13" fmla="*/ 206 h 410"/>
                  <a:gd name="T14" fmla="*/ 142 w 541"/>
                  <a:gd name="T15" fmla="*/ 229 h 410"/>
                  <a:gd name="T16" fmla="*/ 152 w 541"/>
                  <a:gd name="T17" fmla="*/ 256 h 410"/>
                  <a:gd name="T18" fmla="*/ 142 w 541"/>
                  <a:gd name="T19" fmla="*/ 282 h 410"/>
                  <a:gd name="T20" fmla="*/ 152 w 541"/>
                  <a:gd name="T21" fmla="*/ 309 h 410"/>
                  <a:gd name="T22" fmla="*/ 142 w 541"/>
                  <a:gd name="T23" fmla="*/ 336 h 410"/>
                  <a:gd name="T24" fmla="*/ 184 w 541"/>
                  <a:gd name="T25" fmla="*/ 377 h 410"/>
                  <a:gd name="T26" fmla="*/ 212 w 541"/>
                  <a:gd name="T27" fmla="*/ 377 h 410"/>
                  <a:gd name="T28" fmla="*/ 234 w 541"/>
                  <a:gd name="T29" fmla="*/ 407 h 410"/>
                  <a:gd name="T30" fmla="*/ 240 w 541"/>
                  <a:gd name="T31" fmla="*/ 410 h 410"/>
                  <a:gd name="T32" fmla="*/ 335 w 541"/>
                  <a:gd name="T33" fmla="*/ 410 h 410"/>
                  <a:gd name="T34" fmla="*/ 341 w 541"/>
                  <a:gd name="T35" fmla="*/ 407 h 410"/>
                  <a:gd name="T36" fmla="*/ 360 w 541"/>
                  <a:gd name="T37" fmla="*/ 377 h 410"/>
                  <a:gd name="T38" fmla="*/ 384 w 541"/>
                  <a:gd name="T39" fmla="*/ 377 h 410"/>
                  <a:gd name="T40" fmla="*/ 425 w 541"/>
                  <a:gd name="T41" fmla="*/ 336 h 410"/>
                  <a:gd name="T42" fmla="*/ 415 w 541"/>
                  <a:gd name="T43" fmla="*/ 309 h 410"/>
                  <a:gd name="T44" fmla="*/ 425 w 541"/>
                  <a:gd name="T45" fmla="*/ 282 h 410"/>
                  <a:gd name="T46" fmla="*/ 415 w 541"/>
                  <a:gd name="T47" fmla="*/ 256 h 410"/>
                  <a:gd name="T48" fmla="*/ 425 w 541"/>
                  <a:gd name="T49" fmla="*/ 229 h 410"/>
                  <a:gd name="T50" fmla="*/ 416 w 541"/>
                  <a:gd name="T51" fmla="*/ 203 h 410"/>
                  <a:gd name="T52" fmla="*/ 422 w 541"/>
                  <a:gd name="T53" fmla="*/ 196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1" h="410">
                    <a:moveTo>
                      <a:pt x="422" y="196"/>
                    </a:moveTo>
                    <a:cubicBezTo>
                      <a:pt x="536" y="14"/>
                      <a:pt x="536" y="14"/>
                      <a:pt x="536" y="14"/>
                    </a:cubicBezTo>
                    <a:cubicBezTo>
                      <a:pt x="541" y="7"/>
                      <a:pt x="537" y="0"/>
                      <a:pt x="52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3" y="0"/>
                      <a:pt x="0" y="6"/>
                      <a:pt x="5" y="14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0" y="201"/>
                      <a:pt x="145" y="204"/>
                      <a:pt x="149" y="206"/>
                    </a:cubicBezTo>
                    <a:cubicBezTo>
                      <a:pt x="145" y="213"/>
                      <a:pt x="142" y="221"/>
                      <a:pt x="142" y="229"/>
                    </a:cubicBezTo>
                    <a:cubicBezTo>
                      <a:pt x="142" y="239"/>
                      <a:pt x="146" y="248"/>
                      <a:pt x="152" y="256"/>
                    </a:cubicBezTo>
                    <a:cubicBezTo>
                      <a:pt x="146" y="263"/>
                      <a:pt x="142" y="272"/>
                      <a:pt x="142" y="282"/>
                    </a:cubicBezTo>
                    <a:cubicBezTo>
                      <a:pt x="142" y="293"/>
                      <a:pt x="146" y="302"/>
                      <a:pt x="152" y="309"/>
                    </a:cubicBezTo>
                    <a:cubicBezTo>
                      <a:pt x="146" y="316"/>
                      <a:pt x="142" y="326"/>
                      <a:pt x="142" y="336"/>
                    </a:cubicBezTo>
                    <a:cubicBezTo>
                      <a:pt x="142" y="359"/>
                      <a:pt x="161" y="377"/>
                      <a:pt x="184" y="377"/>
                    </a:cubicBezTo>
                    <a:cubicBezTo>
                      <a:pt x="212" y="377"/>
                      <a:pt x="212" y="377"/>
                      <a:pt x="212" y="377"/>
                    </a:cubicBezTo>
                    <a:cubicBezTo>
                      <a:pt x="234" y="407"/>
                      <a:pt x="234" y="407"/>
                      <a:pt x="234" y="407"/>
                    </a:cubicBezTo>
                    <a:cubicBezTo>
                      <a:pt x="235" y="409"/>
                      <a:pt x="238" y="410"/>
                      <a:pt x="240" y="410"/>
                    </a:cubicBezTo>
                    <a:cubicBezTo>
                      <a:pt x="335" y="410"/>
                      <a:pt x="335" y="410"/>
                      <a:pt x="335" y="410"/>
                    </a:cubicBezTo>
                    <a:cubicBezTo>
                      <a:pt x="337" y="410"/>
                      <a:pt x="340" y="409"/>
                      <a:pt x="341" y="407"/>
                    </a:cubicBezTo>
                    <a:cubicBezTo>
                      <a:pt x="360" y="377"/>
                      <a:pt x="360" y="377"/>
                      <a:pt x="360" y="377"/>
                    </a:cubicBezTo>
                    <a:cubicBezTo>
                      <a:pt x="384" y="377"/>
                      <a:pt x="384" y="377"/>
                      <a:pt x="384" y="377"/>
                    </a:cubicBezTo>
                    <a:cubicBezTo>
                      <a:pt x="407" y="377"/>
                      <a:pt x="425" y="359"/>
                      <a:pt x="425" y="336"/>
                    </a:cubicBezTo>
                    <a:cubicBezTo>
                      <a:pt x="425" y="326"/>
                      <a:pt x="421" y="316"/>
                      <a:pt x="415" y="309"/>
                    </a:cubicBezTo>
                    <a:cubicBezTo>
                      <a:pt x="421" y="302"/>
                      <a:pt x="425" y="293"/>
                      <a:pt x="425" y="282"/>
                    </a:cubicBezTo>
                    <a:cubicBezTo>
                      <a:pt x="425" y="272"/>
                      <a:pt x="421" y="263"/>
                      <a:pt x="415" y="256"/>
                    </a:cubicBezTo>
                    <a:cubicBezTo>
                      <a:pt x="421" y="248"/>
                      <a:pt x="425" y="239"/>
                      <a:pt x="425" y="229"/>
                    </a:cubicBezTo>
                    <a:cubicBezTo>
                      <a:pt x="425" y="219"/>
                      <a:pt x="421" y="210"/>
                      <a:pt x="416" y="203"/>
                    </a:cubicBezTo>
                    <a:cubicBezTo>
                      <a:pt x="418" y="201"/>
                      <a:pt x="420" y="198"/>
                      <a:pt x="422" y="19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  <p:sp>
            <p:nvSpPr>
              <p:cNvPr id="142" name="Freeform 141"/>
              <p:cNvSpPr>
                <a:spLocks noEditPoints="1"/>
              </p:cNvSpPr>
              <p:nvPr/>
            </p:nvSpPr>
            <p:spPr bwMode="black">
              <a:xfrm>
                <a:off x="3233738" y="168276"/>
                <a:ext cx="2651125" cy="4124325"/>
              </a:xfrm>
              <a:custGeom>
                <a:avLst/>
                <a:gdLst>
                  <a:gd name="T0" fmla="*/ 122 w 707"/>
                  <a:gd name="T1" fmla="*/ 705 h 1100"/>
                  <a:gd name="T2" fmla="*/ 642 w 707"/>
                  <a:gd name="T3" fmla="*/ 515 h 1100"/>
                  <a:gd name="T4" fmla="*/ 691 w 707"/>
                  <a:gd name="T5" fmla="*/ 408 h 1100"/>
                  <a:gd name="T6" fmla="*/ 584 w 707"/>
                  <a:gd name="T7" fmla="*/ 359 h 1100"/>
                  <a:gd name="T8" fmla="*/ 65 w 707"/>
                  <a:gd name="T9" fmla="*/ 548 h 1100"/>
                  <a:gd name="T10" fmla="*/ 15 w 707"/>
                  <a:gd name="T11" fmla="*/ 655 h 1100"/>
                  <a:gd name="T12" fmla="*/ 122 w 707"/>
                  <a:gd name="T13" fmla="*/ 705 h 1100"/>
                  <a:gd name="T14" fmla="*/ 652 w 707"/>
                  <a:gd name="T15" fmla="*/ 714 h 1100"/>
                  <a:gd name="T16" fmla="*/ 706 w 707"/>
                  <a:gd name="T17" fmla="*/ 636 h 1100"/>
                  <a:gd name="T18" fmla="*/ 701 w 707"/>
                  <a:gd name="T19" fmla="*/ 608 h 1100"/>
                  <a:gd name="T20" fmla="*/ 594 w 707"/>
                  <a:gd name="T21" fmla="*/ 558 h 1100"/>
                  <a:gd name="T22" fmla="*/ 75 w 707"/>
                  <a:gd name="T23" fmla="*/ 748 h 1100"/>
                  <a:gd name="T24" fmla="*/ 20 w 707"/>
                  <a:gd name="T25" fmla="*/ 825 h 1100"/>
                  <a:gd name="T26" fmla="*/ 20 w 707"/>
                  <a:gd name="T27" fmla="*/ 826 h 1100"/>
                  <a:gd name="T28" fmla="*/ 73 w 707"/>
                  <a:gd name="T29" fmla="*/ 904 h 1100"/>
                  <a:gd name="T30" fmla="*/ 190 w 707"/>
                  <a:gd name="T31" fmla="*/ 951 h 1100"/>
                  <a:gd name="T32" fmla="*/ 190 w 707"/>
                  <a:gd name="T33" fmla="*/ 1014 h 1100"/>
                  <a:gd name="T34" fmla="*/ 191 w 707"/>
                  <a:gd name="T35" fmla="*/ 1023 h 1100"/>
                  <a:gd name="T36" fmla="*/ 132 w 707"/>
                  <a:gd name="T37" fmla="*/ 1023 h 1100"/>
                  <a:gd name="T38" fmla="*/ 115 w 707"/>
                  <a:gd name="T39" fmla="*/ 1040 h 1100"/>
                  <a:gd name="T40" fmla="*/ 115 w 707"/>
                  <a:gd name="T41" fmla="*/ 1083 h 1100"/>
                  <a:gd name="T42" fmla="*/ 132 w 707"/>
                  <a:gd name="T43" fmla="*/ 1100 h 1100"/>
                  <a:gd name="T44" fmla="*/ 648 w 707"/>
                  <a:gd name="T45" fmla="*/ 1100 h 1100"/>
                  <a:gd name="T46" fmla="*/ 664 w 707"/>
                  <a:gd name="T47" fmla="*/ 1083 h 1100"/>
                  <a:gd name="T48" fmla="*/ 664 w 707"/>
                  <a:gd name="T49" fmla="*/ 1040 h 1100"/>
                  <a:gd name="T50" fmla="*/ 648 w 707"/>
                  <a:gd name="T51" fmla="*/ 1023 h 1100"/>
                  <a:gd name="T52" fmla="*/ 622 w 707"/>
                  <a:gd name="T53" fmla="*/ 1023 h 1100"/>
                  <a:gd name="T54" fmla="*/ 622 w 707"/>
                  <a:gd name="T55" fmla="*/ 1013 h 1100"/>
                  <a:gd name="T56" fmla="*/ 622 w 707"/>
                  <a:gd name="T57" fmla="*/ 873 h 1100"/>
                  <a:gd name="T58" fmla="*/ 539 w 707"/>
                  <a:gd name="T59" fmla="*/ 790 h 1100"/>
                  <a:gd name="T60" fmla="*/ 456 w 707"/>
                  <a:gd name="T61" fmla="*/ 873 h 1100"/>
                  <a:gd name="T62" fmla="*/ 456 w 707"/>
                  <a:gd name="T63" fmla="*/ 1013 h 1100"/>
                  <a:gd name="T64" fmla="*/ 457 w 707"/>
                  <a:gd name="T65" fmla="*/ 1023 h 1100"/>
                  <a:gd name="T66" fmla="*/ 355 w 707"/>
                  <a:gd name="T67" fmla="*/ 1023 h 1100"/>
                  <a:gd name="T68" fmla="*/ 356 w 707"/>
                  <a:gd name="T69" fmla="*/ 1014 h 1100"/>
                  <a:gd name="T70" fmla="*/ 357 w 707"/>
                  <a:gd name="T71" fmla="*/ 895 h 1100"/>
                  <a:gd name="T72" fmla="*/ 346 w 707"/>
                  <a:gd name="T73" fmla="*/ 855 h 1100"/>
                  <a:gd name="T74" fmla="*/ 161 w 707"/>
                  <a:gd name="T75" fmla="*/ 885 h 1100"/>
                  <a:gd name="T76" fmla="*/ 348 w 707"/>
                  <a:gd name="T77" fmla="*/ 826 h 1100"/>
                  <a:gd name="T78" fmla="*/ 652 w 707"/>
                  <a:gd name="T79" fmla="*/ 714 h 1100"/>
                  <a:gd name="T80" fmla="*/ 122 w 707"/>
                  <a:gd name="T81" fmla="*/ 500 h 1100"/>
                  <a:gd name="T82" fmla="*/ 642 w 707"/>
                  <a:gd name="T83" fmla="*/ 310 h 1100"/>
                  <a:gd name="T84" fmla="*/ 696 w 707"/>
                  <a:gd name="T85" fmla="*/ 232 h 1100"/>
                  <a:gd name="T86" fmla="*/ 695 w 707"/>
                  <a:gd name="T87" fmla="*/ 223 h 1100"/>
                  <a:gd name="T88" fmla="*/ 624 w 707"/>
                  <a:gd name="T89" fmla="*/ 149 h 1100"/>
                  <a:gd name="T90" fmla="*/ 499 w 707"/>
                  <a:gd name="T91" fmla="*/ 132 h 1100"/>
                  <a:gd name="T92" fmla="*/ 509 w 707"/>
                  <a:gd name="T93" fmla="*/ 93 h 1100"/>
                  <a:gd name="T94" fmla="*/ 504 w 707"/>
                  <a:gd name="T95" fmla="*/ 66 h 1100"/>
                  <a:gd name="T96" fmla="*/ 398 w 707"/>
                  <a:gd name="T97" fmla="*/ 15 h 1100"/>
                  <a:gd name="T98" fmla="*/ 166 w 707"/>
                  <a:gd name="T99" fmla="*/ 96 h 1100"/>
                  <a:gd name="T100" fmla="*/ 110 w 707"/>
                  <a:gd name="T101" fmla="*/ 175 h 1100"/>
                  <a:gd name="T102" fmla="*/ 111 w 707"/>
                  <a:gd name="T103" fmla="*/ 184 h 1100"/>
                  <a:gd name="T104" fmla="*/ 182 w 707"/>
                  <a:gd name="T105" fmla="*/ 257 h 1100"/>
                  <a:gd name="T106" fmla="*/ 243 w 707"/>
                  <a:gd name="T107" fmla="*/ 266 h 1100"/>
                  <a:gd name="T108" fmla="*/ 439 w 707"/>
                  <a:gd name="T109" fmla="*/ 213 h 1100"/>
                  <a:gd name="T110" fmla="*/ 225 w 707"/>
                  <a:gd name="T111" fmla="*/ 285 h 1100"/>
                  <a:gd name="T112" fmla="*/ 65 w 707"/>
                  <a:gd name="T113" fmla="*/ 343 h 1100"/>
                  <a:gd name="T114" fmla="*/ 11 w 707"/>
                  <a:gd name="T115" fmla="*/ 422 h 1100"/>
                  <a:gd name="T116" fmla="*/ 15 w 707"/>
                  <a:gd name="T117" fmla="*/ 451 h 1100"/>
                  <a:gd name="T118" fmla="*/ 122 w 707"/>
                  <a:gd name="T119" fmla="*/ 500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7" h="1100">
                    <a:moveTo>
                      <a:pt x="122" y="705"/>
                    </a:moveTo>
                    <a:cubicBezTo>
                      <a:pt x="642" y="515"/>
                      <a:pt x="642" y="515"/>
                      <a:pt x="642" y="515"/>
                    </a:cubicBezTo>
                    <a:cubicBezTo>
                      <a:pt x="684" y="499"/>
                      <a:pt x="707" y="451"/>
                      <a:pt x="691" y="408"/>
                    </a:cubicBezTo>
                    <a:cubicBezTo>
                      <a:pt x="675" y="365"/>
                      <a:pt x="627" y="343"/>
                      <a:pt x="584" y="359"/>
                    </a:cubicBezTo>
                    <a:cubicBezTo>
                      <a:pt x="65" y="548"/>
                      <a:pt x="65" y="548"/>
                      <a:pt x="65" y="548"/>
                    </a:cubicBezTo>
                    <a:cubicBezTo>
                      <a:pt x="22" y="564"/>
                      <a:pt x="0" y="612"/>
                      <a:pt x="15" y="655"/>
                    </a:cubicBezTo>
                    <a:cubicBezTo>
                      <a:pt x="31" y="698"/>
                      <a:pt x="79" y="721"/>
                      <a:pt x="122" y="705"/>
                    </a:cubicBezTo>
                    <a:close/>
                    <a:moveTo>
                      <a:pt x="652" y="714"/>
                    </a:moveTo>
                    <a:cubicBezTo>
                      <a:pt x="685" y="702"/>
                      <a:pt x="706" y="671"/>
                      <a:pt x="706" y="636"/>
                    </a:cubicBezTo>
                    <a:cubicBezTo>
                      <a:pt x="706" y="627"/>
                      <a:pt x="704" y="617"/>
                      <a:pt x="701" y="608"/>
                    </a:cubicBezTo>
                    <a:cubicBezTo>
                      <a:pt x="685" y="565"/>
                      <a:pt x="637" y="543"/>
                      <a:pt x="594" y="558"/>
                    </a:cubicBezTo>
                    <a:cubicBezTo>
                      <a:pt x="75" y="748"/>
                      <a:pt x="75" y="748"/>
                      <a:pt x="75" y="748"/>
                    </a:cubicBezTo>
                    <a:cubicBezTo>
                      <a:pt x="43" y="760"/>
                      <a:pt x="21" y="790"/>
                      <a:pt x="20" y="825"/>
                    </a:cubicBezTo>
                    <a:cubicBezTo>
                      <a:pt x="20" y="826"/>
                      <a:pt x="20" y="826"/>
                      <a:pt x="20" y="826"/>
                    </a:cubicBezTo>
                    <a:cubicBezTo>
                      <a:pt x="20" y="860"/>
                      <a:pt x="41" y="891"/>
                      <a:pt x="73" y="904"/>
                    </a:cubicBezTo>
                    <a:cubicBezTo>
                      <a:pt x="73" y="904"/>
                      <a:pt x="140" y="931"/>
                      <a:pt x="190" y="951"/>
                    </a:cubicBezTo>
                    <a:cubicBezTo>
                      <a:pt x="190" y="982"/>
                      <a:pt x="190" y="1014"/>
                      <a:pt x="190" y="1014"/>
                    </a:cubicBezTo>
                    <a:cubicBezTo>
                      <a:pt x="190" y="1017"/>
                      <a:pt x="190" y="1020"/>
                      <a:pt x="191" y="1023"/>
                    </a:cubicBezTo>
                    <a:cubicBezTo>
                      <a:pt x="132" y="1023"/>
                      <a:pt x="132" y="1023"/>
                      <a:pt x="132" y="1023"/>
                    </a:cubicBezTo>
                    <a:cubicBezTo>
                      <a:pt x="122" y="1023"/>
                      <a:pt x="115" y="1030"/>
                      <a:pt x="115" y="1040"/>
                    </a:cubicBezTo>
                    <a:cubicBezTo>
                      <a:pt x="115" y="1083"/>
                      <a:pt x="115" y="1083"/>
                      <a:pt x="115" y="1083"/>
                    </a:cubicBezTo>
                    <a:cubicBezTo>
                      <a:pt x="115" y="1093"/>
                      <a:pt x="122" y="1100"/>
                      <a:pt x="132" y="1100"/>
                    </a:cubicBezTo>
                    <a:cubicBezTo>
                      <a:pt x="648" y="1100"/>
                      <a:pt x="648" y="1100"/>
                      <a:pt x="648" y="1100"/>
                    </a:cubicBezTo>
                    <a:cubicBezTo>
                      <a:pt x="657" y="1100"/>
                      <a:pt x="664" y="1093"/>
                      <a:pt x="664" y="1083"/>
                    </a:cubicBezTo>
                    <a:cubicBezTo>
                      <a:pt x="664" y="1040"/>
                      <a:pt x="664" y="1040"/>
                      <a:pt x="664" y="1040"/>
                    </a:cubicBezTo>
                    <a:cubicBezTo>
                      <a:pt x="664" y="1030"/>
                      <a:pt x="657" y="1023"/>
                      <a:pt x="648" y="1023"/>
                    </a:cubicBezTo>
                    <a:cubicBezTo>
                      <a:pt x="622" y="1023"/>
                      <a:pt x="622" y="1023"/>
                      <a:pt x="622" y="1023"/>
                    </a:cubicBezTo>
                    <a:cubicBezTo>
                      <a:pt x="622" y="1020"/>
                      <a:pt x="622" y="1017"/>
                      <a:pt x="622" y="1013"/>
                    </a:cubicBezTo>
                    <a:cubicBezTo>
                      <a:pt x="622" y="873"/>
                      <a:pt x="622" y="873"/>
                      <a:pt x="622" y="873"/>
                    </a:cubicBezTo>
                    <a:cubicBezTo>
                      <a:pt x="622" y="827"/>
                      <a:pt x="585" y="790"/>
                      <a:pt x="539" y="790"/>
                    </a:cubicBezTo>
                    <a:cubicBezTo>
                      <a:pt x="493" y="790"/>
                      <a:pt x="456" y="827"/>
                      <a:pt x="456" y="873"/>
                    </a:cubicBezTo>
                    <a:cubicBezTo>
                      <a:pt x="456" y="1013"/>
                      <a:pt x="456" y="1013"/>
                      <a:pt x="456" y="1013"/>
                    </a:cubicBezTo>
                    <a:cubicBezTo>
                      <a:pt x="456" y="1017"/>
                      <a:pt x="456" y="1020"/>
                      <a:pt x="457" y="1023"/>
                    </a:cubicBezTo>
                    <a:cubicBezTo>
                      <a:pt x="355" y="1023"/>
                      <a:pt x="355" y="1023"/>
                      <a:pt x="355" y="1023"/>
                    </a:cubicBezTo>
                    <a:cubicBezTo>
                      <a:pt x="356" y="1020"/>
                      <a:pt x="356" y="1017"/>
                      <a:pt x="356" y="1014"/>
                    </a:cubicBezTo>
                    <a:cubicBezTo>
                      <a:pt x="357" y="895"/>
                      <a:pt x="357" y="895"/>
                      <a:pt x="357" y="895"/>
                    </a:cubicBezTo>
                    <a:cubicBezTo>
                      <a:pt x="357" y="880"/>
                      <a:pt x="353" y="867"/>
                      <a:pt x="346" y="855"/>
                    </a:cubicBezTo>
                    <a:cubicBezTo>
                      <a:pt x="161" y="885"/>
                      <a:pt x="161" y="885"/>
                      <a:pt x="161" y="885"/>
                    </a:cubicBezTo>
                    <a:cubicBezTo>
                      <a:pt x="348" y="826"/>
                      <a:pt x="348" y="826"/>
                      <a:pt x="348" y="826"/>
                    </a:cubicBezTo>
                    <a:cubicBezTo>
                      <a:pt x="495" y="772"/>
                      <a:pt x="652" y="714"/>
                      <a:pt x="652" y="714"/>
                    </a:cubicBezTo>
                    <a:close/>
                    <a:moveTo>
                      <a:pt x="122" y="500"/>
                    </a:moveTo>
                    <a:cubicBezTo>
                      <a:pt x="642" y="310"/>
                      <a:pt x="642" y="310"/>
                      <a:pt x="642" y="310"/>
                    </a:cubicBezTo>
                    <a:cubicBezTo>
                      <a:pt x="675" y="298"/>
                      <a:pt x="696" y="267"/>
                      <a:pt x="696" y="232"/>
                    </a:cubicBezTo>
                    <a:cubicBezTo>
                      <a:pt x="696" y="229"/>
                      <a:pt x="696" y="226"/>
                      <a:pt x="695" y="223"/>
                    </a:cubicBezTo>
                    <a:cubicBezTo>
                      <a:pt x="691" y="185"/>
                      <a:pt x="662" y="155"/>
                      <a:pt x="624" y="149"/>
                    </a:cubicBezTo>
                    <a:cubicBezTo>
                      <a:pt x="624" y="149"/>
                      <a:pt x="551" y="139"/>
                      <a:pt x="499" y="132"/>
                    </a:cubicBezTo>
                    <a:cubicBezTo>
                      <a:pt x="505" y="120"/>
                      <a:pt x="509" y="107"/>
                      <a:pt x="509" y="93"/>
                    </a:cubicBezTo>
                    <a:cubicBezTo>
                      <a:pt x="509" y="84"/>
                      <a:pt x="508" y="75"/>
                      <a:pt x="504" y="66"/>
                    </a:cubicBezTo>
                    <a:cubicBezTo>
                      <a:pt x="489" y="22"/>
                      <a:pt x="441" y="0"/>
                      <a:pt x="398" y="15"/>
                    </a:cubicBezTo>
                    <a:cubicBezTo>
                      <a:pt x="166" y="96"/>
                      <a:pt x="166" y="96"/>
                      <a:pt x="166" y="96"/>
                    </a:cubicBezTo>
                    <a:cubicBezTo>
                      <a:pt x="132" y="109"/>
                      <a:pt x="110" y="140"/>
                      <a:pt x="110" y="175"/>
                    </a:cubicBezTo>
                    <a:cubicBezTo>
                      <a:pt x="110" y="178"/>
                      <a:pt x="110" y="181"/>
                      <a:pt x="111" y="184"/>
                    </a:cubicBezTo>
                    <a:cubicBezTo>
                      <a:pt x="115" y="222"/>
                      <a:pt x="145" y="253"/>
                      <a:pt x="182" y="257"/>
                    </a:cubicBezTo>
                    <a:cubicBezTo>
                      <a:pt x="182" y="257"/>
                      <a:pt x="215" y="262"/>
                      <a:pt x="243" y="266"/>
                    </a:cubicBezTo>
                    <a:cubicBezTo>
                      <a:pt x="439" y="213"/>
                      <a:pt x="439" y="213"/>
                      <a:pt x="439" y="213"/>
                    </a:cubicBezTo>
                    <a:cubicBezTo>
                      <a:pt x="225" y="285"/>
                      <a:pt x="225" y="285"/>
                      <a:pt x="225" y="285"/>
                    </a:cubicBezTo>
                    <a:cubicBezTo>
                      <a:pt x="142" y="315"/>
                      <a:pt x="65" y="343"/>
                      <a:pt x="65" y="343"/>
                    </a:cubicBezTo>
                    <a:cubicBezTo>
                      <a:pt x="31" y="356"/>
                      <a:pt x="11" y="388"/>
                      <a:pt x="11" y="422"/>
                    </a:cubicBezTo>
                    <a:cubicBezTo>
                      <a:pt x="11" y="431"/>
                      <a:pt x="12" y="441"/>
                      <a:pt x="15" y="451"/>
                    </a:cubicBezTo>
                    <a:cubicBezTo>
                      <a:pt x="31" y="494"/>
                      <a:pt x="79" y="516"/>
                      <a:pt x="122" y="5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  <p:sp>
            <p:nvSpPr>
              <p:cNvPr id="143" name="Freeform 142"/>
              <p:cNvSpPr>
                <a:spLocks/>
              </p:cNvSpPr>
              <p:nvPr/>
            </p:nvSpPr>
            <p:spPr bwMode="black">
              <a:xfrm>
                <a:off x="3657600" y="4476750"/>
                <a:ext cx="2057400" cy="460375"/>
              </a:xfrm>
              <a:custGeom>
                <a:avLst/>
                <a:gdLst>
                  <a:gd name="T0" fmla="*/ 549 w 549"/>
                  <a:gd name="T1" fmla="*/ 10 h 123"/>
                  <a:gd name="T2" fmla="*/ 535 w 549"/>
                  <a:gd name="T3" fmla="*/ 0 h 123"/>
                  <a:gd name="T4" fmla="*/ 17 w 549"/>
                  <a:gd name="T5" fmla="*/ 0 h 123"/>
                  <a:gd name="T6" fmla="*/ 0 w 549"/>
                  <a:gd name="T7" fmla="*/ 17 h 123"/>
                  <a:gd name="T8" fmla="*/ 0 w 549"/>
                  <a:gd name="T9" fmla="*/ 106 h 123"/>
                  <a:gd name="T10" fmla="*/ 17 w 549"/>
                  <a:gd name="T11" fmla="*/ 123 h 123"/>
                  <a:gd name="T12" fmla="*/ 535 w 549"/>
                  <a:gd name="T13" fmla="*/ 123 h 123"/>
                  <a:gd name="T14" fmla="*/ 549 w 549"/>
                  <a:gd name="T15" fmla="*/ 113 h 123"/>
                  <a:gd name="T16" fmla="*/ 549 w 549"/>
                  <a:gd name="T17" fmla="*/ 1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9" h="123">
                    <a:moveTo>
                      <a:pt x="549" y="10"/>
                    </a:moveTo>
                    <a:cubicBezTo>
                      <a:pt x="547" y="4"/>
                      <a:pt x="541" y="0"/>
                      <a:pt x="53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15"/>
                      <a:pt x="8" y="123"/>
                      <a:pt x="17" y="123"/>
                    </a:cubicBezTo>
                    <a:cubicBezTo>
                      <a:pt x="535" y="123"/>
                      <a:pt x="535" y="123"/>
                      <a:pt x="535" y="123"/>
                    </a:cubicBezTo>
                    <a:cubicBezTo>
                      <a:pt x="541" y="123"/>
                      <a:pt x="547" y="118"/>
                      <a:pt x="549" y="113"/>
                    </a:cubicBezTo>
                    <a:cubicBezTo>
                      <a:pt x="549" y="10"/>
                      <a:pt x="549" y="10"/>
                      <a:pt x="54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</p:grpSp>
        <p:sp>
          <p:nvSpPr>
            <p:cNvPr id="104" name="Rounded Rectangle 103"/>
            <p:cNvSpPr/>
            <p:nvPr/>
          </p:nvSpPr>
          <p:spPr>
            <a:xfrm>
              <a:off x="8131864" y="3019296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05" name="Rounded Rectangle 104"/>
            <p:cNvSpPr/>
            <p:nvPr/>
          </p:nvSpPr>
          <p:spPr>
            <a:xfrm rot="1860000">
              <a:off x="8339900" y="307882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3" name="Rounded Rectangle 122"/>
            <p:cNvSpPr/>
            <p:nvPr/>
          </p:nvSpPr>
          <p:spPr>
            <a:xfrm rot="-1920000">
              <a:off x="7923828" y="307882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5" name="Rounded Rectangle 124"/>
            <p:cNvSpPr/>
            <p:nvPr/>
          </p:nvSpPr>
          <p:spPr>
            <a:xfrm rot="3420000">
              <a:off x="8489616" y="3256734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6" name="Rounded Rectangle 125"/>
            <p:cNvSpPr/>
            <p:nvPr/>
          </p:nvSpPr>
          <p:spPr>
            <a:xfrm rot="18180000" flipV="1">
              <a:off x="7776757" y="3256734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30" name="Rounded Rectangle 129"/>
            <p:cNvSpPr/>
            <p:nvPr/>
          </p:nvSpPr>
          <p:spPr>
            <a:xfrm rot="5400000">
              <a:off x="8518189" y="345464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31" name="Rounded Rectangle 130"/>
            <p:cNvSpPr/>
            <p:nvPr/>
          </p:nvSpPr>
          <p:spPr>
            <a:xfrm rot="5400000">
              <a:off x="7748005" y="345464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39" name="Rounded Rectangle 138"/>
            <p:cNvSpPr/>
            <p:nvPr/>
          </p:nvSpPr>
          <p:spPr>
            <a:xfrm rot="6660000">
              <a:off x="8472950" y="3592108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40" name="Rounded Rectangle 139"/>
            <p:cNvSpPr/>
            <p:nvPr/>
          </p:nvSpPr>
          <p:spPr>
            <a:xfrm rot="14940000" flipH="1">
              <a:off x="7801157" y="3592107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</p:grpSp>
      <p:sp>
        <p:nvSpPr>
          <p:cNvPr id="147" name="Freeform 21"/>
          <p:cNvSpPr/>
          <p:nvPr/>
        </p:nvSpPr>
        <p:spPr>
          <a:xfrm>
            <a:off x="7998382" y="545352"/>
            <a:ext cx="4185277" cy="145813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txBody>
          <a:bodyPr rot="0" spcFirstLastPara="0" vertOverflow="overflow" horzOverflow="overflow" vert="horz" wrap="square" lIns="91440" tIns="36576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6858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&amp; 2 are initial engagements with scoping components included</a:t>
            </a:r>
          </a:p>
          <a:p>
            <a:pPr marL="285750" indent="-285750" defTabSz="6858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 &amp; 4 are UAT Phases</a:t>
            </a:r>
          </a:p>
          <a:p>
            <a:pPr marL="285750" indent="-285750" defTabSz="6858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&amp; 6 are production &amp; post production</a:t>
            </a:r>
          </a:p>
        </p:txBody>
      </p:sp>
      <p:sp>
        <p:nvSpPr>
          <p:cNvPr id="148" name="Rectangle 147"/>
          <p:cNvSpPr/>
          <p:nvPr/>
        </p:nvSpPr>
        <p:spPr>
          <a:xfrm>
            <a:off x="7998382" y="160728"/>
            <a:ext cx="4185277" cy="562419"/>
          </a:xfrm>
          <a:prstGeom prst="rect">
            <a:avLst/>
          </a:prstGeom>
          <a:solidFill>
            <a:srgbClr val="0074AF"/>
          </a:solidFill>
          <a:ln w="3175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2800" dirty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</a:t>
            </a:r>
          </a:p>
        </p:txBody>
      </p:sp>
    </p:spTree>
    <p:extLst>
      <p:ext uri="{BB962C8B-B14F-4D97-AF65-F5344CB8AC3E}">
        <p14:creationId xmlns:p14="http://schemas.microsoft.com/office/powerpoint/2010/main" val="2766765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/>
          <p:cNvSpPr/>
          <p:nvPr>
            <p:custDataLst>
              <p:tags r:id="rId2"/>
            </p:custDataLst>
          </p:nvPr>
        </p:nvSpPr>
        <p:spPr bwMode="auto">
          <a:xfrm>
            <a:off x="575574" y="1794525"/>
            <a:ext cx="1005840" cy="1966723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94" name="Rectangle 93"/>
          <p:cNvSpPr/>
          <p:nvPr>
            <p:custDataLst>
              <p:tags r:id="rId3"/>
            </p:custDataLst>
          </p:nvPr>
        </p:nvSpPr>
        <p:spPr bwMode="auto">
          <a:xfrm>
            <a:off x="575574" y="2357075"/>
            <a:ext cx="994989" cy="1409354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64654" y="1116908"/>
            <a:ext cx="2103079" cy="638655"/>
          </a:xfrm>
          <a:prstGeom prst="rect">
            <a:avLst/>
          </a:prstGeom>
          <a:noFill/>
          <a:ln>
            <a:noFill/>
          </a:ln>
        </p:spPr>
        <p:txBody>
          <a:bodyPr rtlCol="0" anchor="ctr">
            <a:no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ndard staffing run-rate for existing functions automated by a BOT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54057" y="1059106"/>
            <a:ext cx="1921485" cy="5102155"/>
            <a:chOff x="554057" y="1059106"/>
            <a:chExt cx="1921485" cy="5102155"/>
          </a:xfrm>
        </p:grpSpPr>
        <p:grpSp>
          <p:nvGrpSpPr>
            <p:cNvPr id="102" name="Group 101"/>
            <p:cNvGrpSpPr/>
            <p:nvPr/>
          </p:nvGrpSpPr>
          <p:grpSpPr>
            <a:xfrm>
              <a:off x="1581414" y="1925237"/>
              <a:ext cx="894128" cy="1867974"/>
              <a:chOff x="6455275" y="2033036"/>
              <a:chExt cx="894128" cy="1867974"/>
            </a:xfrm>
          </p:grpSpPr>
          <p:cxnSp>
            <p:nvCxnSpPr>
              <p:cNvPr id="103" name="Straight Connector 102"/>
              <p:cNvCxnSpPr>
                <a:stCxn id="104" idx="2"/>
              </p:cNvCxnSpPr>
              <p:nvPr/>
            </p:nvCxnSpPr>
            <p:spPr>
              <a:xfrm flipH="1">
                <a:off x="6898469" y="2499035"/>
                <a:ext cx="3870" cy="1401975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" name="Rectangle 103"/>
              <p:cNvSpPr/>
              <p:nvPr/>
            </p:nvSpPr>
            <p:spPr>
              <a:xfrm>
                <a:off x="6455275" y="2033036"/>
                <a:ext cx="894128" cy="465999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txBody>
              <a:bodyPr tIns="0" bIns="0" rtlCol="0" anchor="ctr">
                <a:noAutofit/>
              </a:bodyPr>
              <a:lstStyle/>
              <a:p>
                <a:pPr algn="ctr">
                  <a:lnSpc>
                    <a:spcPct val="85000"/>
                  </a:lnSpc>
                  <a:spcBef>
                    <a:spcPts val="300"/>
                  </a:spcBef>
                </a:pPr>
                <a:r>
                  <a:rPr lang="en-US" sz="1600" dirty="0">
                    <a:solidFill>
                      <a:srgbClr val="0074A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70% </a:t>
                </a:r>
                <a:r>
                  <a:rPr lang="en-US" sz="1100" dirty="0">
                    <a:solidFill>
                      <a:srgbClr val="0074AF"/>
                    </a:solidFill>
                    <a:cs typeface="Segoe UI Semibold" panose="020B0702040204020203" pitchFamily="34" charset="0"/>
                  </a:rPr>
                  <a:t>Automated</a:t>
                </a:r>
                <a:endParaRPr lang="en-US" sz="1200" dirty="0">
                  <a:solidFill>
                    <a:srgbClr val="0074AF"/>
                  </a:solidFill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181" name="Freeform 21"/>
            <p:cNvSpPr/>
            <p:nvPr/>
          </p:nvSpPr>
          <p:spPr>
            <a:xfrm>
              <a:off x="564654" y="5152206"/>
              <a:ext cx="1259462" cy="10090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txBody>
            <a:bodyPr rot="0" spcFirstLastPara="0" vertOverflow="overflow" horzOverflow="overflow" vert="horz" wrap="square" lIns="91440" tIns="36576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600"/>
                </a:spcBef>
              </a:pPr>
              <a:endParaRPr lang="en-US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554059" y="4136566"/>
              <a:ext cx="1270057" cy="3079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1</a:t>
              </a: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554057" y="4444485"/>
              <a:ext cx="1270059" cy="7247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9144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C / Workshop</a:t>
              </a: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575450" y="5185989"/>
              <a:ext cx="1226180" cy="802521"/>
            </a:xfrm>
            <a:prstGeom prst="rect">
              <a:avLst/>
            </a:prstGeom>
            <a:noFill/>
            <a:ln w="3175">
              <a:noFill/>
            </a:ln>
          </p:spPr>
          <p:txBody>
            <a:bodyPr bIns="9144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ccelerate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your team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980658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64654" y="2627738"/>
              <a:ext cx="103453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BOT development cost</a:t>
              </a:r>
            </a:p>
          </p:txBody>
        </p:sp>
        <p:cxnSp>
          <p:nvCxnSpPr>
            <p:cNvPr id="44" name="Straight Connector 43"/>
            <p:cNvCxnSpPr/>
            <p:nvPr/>
          </p:nvCxnSpPr>
          <p:spPr>
            <a:xfrm flipV="1">
              <a:off x="582398" y="1059106"/>
              <a:ext cx="0" cy="1194690"/>
            </a:xfrm>
            <a:prstGeom prst="line">
              <a:avLst/>
            </a:prstGeom>
            <a:ln w="28575">
              <a:solidFill>
                <a:srgbClr val="DCF3FF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/>
          </p:nvCxnSpPr>
          <p:spPr>
            <a:xfrm>
              <a:off x="738732" y="2339808"/>
              <a:ext cx="0" cy="220708"/>
            </a:xfrm>
            <a:prstGeom prst="line">
              <a:avLst/>
            </a:prstGeom>
            <a:ln w="28575">
              <a:solidFill>
                <a:schemeClr val="bg1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Arrow Connector 8"/>
          <p:cNvCxnSpPr/>
          <p:nvPr/>
        </p:nvCxnSpPr>
        <p:spPr>
          <a:xfrm>
            <a:off x="565487" y="3785289"/>
            <a:ext cx="11212940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58" y="204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0" name="think-cell Slide" r:id="rId19" imgW="377" imgH="377" progId="TCLayout.ActiveDocument.1">
                  <p:embed/>
                </p:oleObj>
              </mc:Choice>
              <mc:Fallback>
                <p:oleObj name="think-cell Slide" r:id="rId19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204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3" y="168739"/>
            <a:ext cx="11474263" cy="701632"/>
          </a:xfrm>
        </p:spPr>
        <p:txBody>
          <a:bodyPr/>
          <a:lstStyle/>
          <a:p>
            <a:r>
              <a:rPr lang="en-US" dirty="0"/>
              <a:t>BOT Acceleration Managed Service Value </a:t>
            </a:r>
          </a:p>
        </p:txBody>
      </p:sp>
      <p:grpSp>
        <p:nvGrpSpPr>
          <p:cNvPr id="6" name="Group 5" hidden="1"/>
          <p:cNvGrpSpPr/>
          <p:nvPr/>
        </p:nvGrpSpPr>
        <p:grpSpPr>
          <a:xfrm>
            <a:off x="1610654" y="2082209"/>
            <a:ext cx="9895950" cy="5815653"/>
            <a:chOff x="1610018" y="2082018"/>
            <a:chExt cx="9897353" cy="5816478"/>
          </a:xfrm>
        </p:grpSpPr>
        <p:grpSp>
          <p:nvGrpSpPr>
            <p:cNvPr id="5" name="Group 4"/>
            <p:cNvGrpSpPr/>
            <p:nvPr/>
          </p:nvGrpSpPr>
          <p:grpSpPr>
            <a:xfrm>
              <a:off x="4906055" y="5844492"/>
              <a:ext cx="3981157" cy="2054004"/>
              <a:chOff x="4906055" y="5844492"/>
              <a:chExt cx="3981157" cy="2054004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214949" y="5844492"/>
                <a:ext cx="3268465" cy="1736847"/>
              </a:xfrm>
              <a:prstGeom prst="rect">
                <a:avLst/>
              </a:prstGeom>
            </p:spPr>
          </p:pic>
          <p:sp>
            <p:nvSpPr>
              <p:cNvPr id="25" name="Rectangle 24"/>
              <p:cNvSpPr/>
              <p:nvPr/>
            </p:nvSpPr>
            <p:spPr>
              <a:xfrm>
                <a:off x="5880295" y="6161649"/>
                <a:ext cx="970671" cy="1356310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6892872" y="6179845"/>
                <a:ext cx="970671" cy="1356310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7916541" y="7071921"/>
                <a:ext cx="970671" cy="464234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sz="1200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word Arca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4906055" y="7434262"/>
                <a:ext cx="970671" cy="464234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sz="1200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word Arca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1610018" y="2082018"/>
              <a:ext cx="9897353" cy="4923361"/>
              <a:chOff x="1610018" y="2082018"/>
              <a:chExt cx="9897353" cy="4923361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1610018" y="4156733"/>
                <a:ext cx="3272130" cy="1770844"/>
              </a:xfrm>
              <a:prstGeom prst="rect">
                <a:avLst/>
              </a:prstGeom>
            </p:spPr>
          </p:pic>
          <p:sp>
            <p:nvSpPr>
              <p:cNvPr id="22" name="Rectangle 21"/>
              <p:cNvSpPr/>
              <p:nvPr/>
            </p:nvSpPr>
            <p:spPr>
              <a:xfrm>
                <a:off x="3332944" y="4514616"/>
                <a:ext cx="1308296" cy="1055077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out all text here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9439420" y="4825217"/>
                <a:ext cx="2067951" cy="1102359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Put a dollar sign and clock gif below this title</a:t>
                </a: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4811151" y="6166066"/>
                <a:ext cx="970671" cy="274906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811151" y="6730473"/>
                <a:ext cx="970671" cy="274906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Blur text</a:t>
                </a:r>
              </a:p>
            </p:txBody>
          </p:sp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91843" y="3208093"/>
                <a:ext cx="2257863" cy="1270048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5596417" y="2171844"/>
                <a:ext cx="2281157" cy="1128106"/>
              </a:xfrm>
              <a:prstGeom prst="rect">
                <a:avLst/>
              </a:prstGeom>
            </p:spPr>
          </p:pic>
          <p:sp>
            <p:nvSpPr>
              <p:cNvPr id="33" name="Rectangle 32"/>
              <p:cNvSpPr/>
              <p:nvPr/>
            </p:nvSpPr>
            <p:spPr>
              <a:xfrm>
                <a:off x="6094413" y="2082018"/>
                <a:ext cx="1952307" cy="1477108"/>
              </a:xfrm>
              <a:prstGeom prst="rect">
                <a:avLst/>
              </a:prstGeom>
              <a:solidFill>
                <a:srgbClr val="C00000"/>
              </a:solidFill>
              <a:ln w="3175">
                <a:solidFill>
                  <a:schemeClr val="bg1">
                    <a:lumMod val="75000"/>
                  </a:schemeClr>
                </a:solidFill>
              </a:ln>
            </p:spPr>
            <p:txBody>
              <a:bodyPr rtlCol="0" anchor="ctr">
                <a:noAutofit/>
              </a:bodyPr>
              <a:lstStyle/>
              <a:p>
                <a:pPr algn="ctr" defTabSz="914225"/>
                <a:r>
                  <a:rPr lang="en-US" dirty="0">
                    <a:solidFill>
                      <a:srgbClr val="000000">
                        <a:lumMod val="75000"/>
                        <a:lumOff val="25000"/>
                      </a:srgbClr>
                    </a:solidFill>
                  </a:rPr>
                  <a:t>CB: Improve slide 7 and replace this image3</a:t>
                </a:r>
              </a:p>
            </p:txBody>
          </p:sp>
        </p:grpSp>
      </p:grpSp>
      <p:sp>
        <p:nvSpPr>
          <p:cNvPr id="166" name="Rectangle 165"/>
          <p:cNvSpPr/>
          <p:nvPr>
            <p:custDataLst>
              <p:tags r:id="rId5"/>
            </p:custDataLst>
          </p:nvPr>
        </p:nvSpPr>
        <p:spPr bwMode="auto">
          <a:xfrm>
            <a:off x="8504799" y="1583244"/>
            <a:ext cx="1008338" cy="2187563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67" name="Rectangle 166"/>
          <p:cNvSpPr/>
          <p:nvPr>
            <p:custDataLst>
              <p:tags r:id="rId6"/>
            </p:custDataLst>
          </p:nvPr>
        </p:nvSpPr>
        <p:spPr bwMode="auto">
          <a:xfrm>
            <a:off x="8505462" y="3481046"/>
            <a:ext cx="1007675" cy="289761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71" name="Rectangle 170"/>
          <p:cNvSpPr/>
          <p:nvPr>
            <p:custDataLst>
              <p:tags r:id="rId7"/>
            </p:custDataLst>
          </p:nvPr>
        </p:nvSpPr>
        <p:spPr bwMode="auto">
          <a:xfrm>
            <a:off x="9654898" y="1581161"/>
            <a:ext cx="1727825" cy="2182488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72" name="Rectangle 171"/>
          <p:cNvSpPr/>
          <p:nvPr>
            <p:custDataLst>
              <p:tags r:id="rId8"/>
            </p:custDataLst>
          </p:nvPr>
        </p:nvSpPr>
        <p:spPr bwMode="auto">
          <a:xfrm>
            <a:off x="9654897" y="3477709"/>
            <a:ext cx="1727826" cy="285941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8280602" y="3667917"/>
            <a:ext cx="3363470" cy="2493344"/>
            <a:chOff x="8280602" y="3667917"/>
            <a:chExt cx="3363470" cy="2493344"/>
          </a:xfrm>
        </p:grpSpPr>
        <p:sp>
          <p:nvSpPr>
            <p:cNvPr id="183" name="Freeform 21"/>
            <p:cNvSpPr/>
            <p:nvPr/>
          </p:nvSpPr>
          <p:spPr>
            <a:xfrm>
              <a:off x="8280604" y="5152206"/>
              <a:ext cx="3363467" cy="10090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txBody>
            <a:bodyPr rot="0" spcFirstLastPara="0" vertOverflow="overflow" horzOverflow="overflow" vert="horz" wrap="square" lIns="91440" tIns="36576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ts val="600"/>
                </a:spcBef>
              </a:pPr>
              <a:endParaRPr lang="en-US" sz="140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8280602" y="4131011"/>
              <a:ext cx="1206102" cy="3079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5</a:t>
              </a: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9620606" y="4131009"/>
              <a:ext cx="2023466" cy="31570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6 &amp; on </a:t>
              </a: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8280603" y="4435522"/>
              <a:ext cx="3363469" cy="7247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9144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rain, Improve &amp; Maintain</a:t>
              </a: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8421311" y="5296715"/>
              <a:ext cx="3039117" cy="802521"/>
            </a:xfrm>
            <a:prstGeom prst="rect">
              <a:avLst/>
            </a:prstGeom>
            <a:noFill/>
            <a:ln w="3175">
              <a:noFill/>
            </a:ln>
          </p:spPr>
          <p:txBody>
            <a:bodyPr bIns="9144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everage Neal’s Machine Learning </a:t>
              </a:r>
              <a:br>
                <a:rPr lang="en-US" sz="140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40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now-how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o train for </a:t>
              </a:r>
              <a:b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 better tomorrow</a:t>
              </a:r>
            </a:p>
          </p:txBody>
        </p:sp>
        <p:sp>
          <p:nvSpPr>
            <p:cNvPr id="82" name="Oval 81"/>
            <p:cNvSpPr/>
            <p:nvPr/>
          </p:nvSpPr>
          <p:spPr>
            <a:xfrm>
              <a:off x="8903874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10398919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6" name="Rectangle 105"/>
          <p:cNvSpPr/>
          <p:nvPr>
            <p:custDataLst>
              <p:tags r:id="rId9"/>
            </p:custDataLst>
          </p:nvPr>
        </p:nvSpPr>
        <p:spPr bwMode="auto">
          <a:xfrm>
            <a:off x="2479586" y="1794525"/>
            <a:ext cx="1005840" cy="1966724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7" name="Rectangle 106"/>
          <p:cNvSpPr/>
          <p:nvPr>
            <p:custDataLst>
              <p:tags r:id="rId10"/>
            </p:custDataLst>
          </p:nvPr>
        </p:nvSpPr>
        <p:spPr bwMode="auto">
          <a:xfrm>
            <a:off x="2479586" y="2779688"/>
            <a:ext cx="1005840" cy="986739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1" name="Rectangle 150"/>
          <p:cNvSpPr/>
          <p:nvPr>
            <p:custDataLst>
              <p:tags r:id="rId11"/>
            </p:custDataLst>
          </p:nvPr>
        </p:nvSpPr>
        <p:spPr bwMode="auto">
          <a:xfrm>
            <a:off x="3600711" y="1794525"/>
            <a:ext cx="1005840" cy="1954104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2" name="Rectangle 151"/>
          <p:cNvSpPr/>
          <p:nvPr>
            <p:custDataLst>
              <p:tags r:id="rId12"/>
            </p:custDataLst>
          </p:nvPr>
        </p:nvSpPr>
        <p:spPr bwMode="auto">
          <a:xfrm>
            <a:off x="3600711" y="2838373"/>
            <a:ext cx="1005840" cy="928054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3" name="Rectangle 152"/>
          <p:cNvSpPr/>
          <p:nvPr>
            <p:custDataLst>
              <p:tags r:id="rId13"/>
            </p:custDataLst>
          </p:nvPr>
        </p:nvSpPr>
        <p:spPr bwMode="auto">
          <a:xfrm>
            <a:off x="5497211" y="1691518"/>
            <a:ext cx="1005840" cy="2070837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4" name="Rectangle 153"/>
          <p:cNvSpPr/>
          <p:nvPr>
            <p:custDataLst>
              <p:tags r:id="rId14"/>
            </p:custDataLst>
          </p:nvPr>
        </p:nvSpPr>
        <p:spPr bwMode="auto">
          <a:xfrm>
            <a:off x="5497211" y="3072025"/>
            <a:ext cx="1005840" cy="691880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5" name="Rectangle 154"/>
          <p:cNvSpPr/>
          <p:nvPr>
            <p:custDataLst>
              <p:tags r:id="rId15"/>
            </p:custDataLst>
          </p:nvPr>
        </p:nvSpPr>
        <p:spPr bwMode="auto">
          <a:xfrm>
            <a:off x="6636816" y="1691758"/>
            <a:ext cx="1005840" cy="2071378"/>
          </a:xfrm>
          <a:prstGeom prst="rect">
            <a:avLst/>
          </a:prstGeom>
          <a:solidFill>
            <a:srgbClr val="B9E8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56" name="Rectangle 155"/>
          <p:cNvSpPr/>
          <p:nvPr>
            <p:custDataLst>
              <p:tags r:id="rId16"/>
            </p:custDataLst>
          </p:nvPr>
        </p:nvSpPr>
        <p:spPr bwMode="auto">
          <a:xfrm>
            <a:off x="6636816" y="3071257"/>
            <a:ext cx="1005840" cy="691880"/>
          </a:xfrm>
          <a:prstGeom prst="rect">
            <a:avLst/>
          </a:prstGeom>
          <a:solidFill>
            <a:srgbClr val="0074A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vert="horz" wrap="none" lIns="91427" tIns="45713" rIns="91427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818993" eaLnBrk="0" fontAlgn="base" hangingPunct="0">
              <a:spcBef>
                <a:spcPct val="0"/>
              </a:spcBef>
              <a:spcAft>
                <a:spcPct val="0"/>
              </a:spcAft>
              <a:tabLst>
                <a:tab pos="560281" algn="l"/>
              </a:tabLst>
            </a:pPr>
            <a:endParaRPr lang="en-US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332767" y="1156916"/>
            <a:ext cx="6150144" cy="5022538"/>
            <a:chOff x="2332767" y="1156916"/>
            <a:chExt cx="6150144" cy="5022538"/>
          </a:xfrm>
        </p:grpSpPr>
        <p:grpSp>
          <p:nvGrpSpPr>
            <p:cNvPr id="116" name="Group 115"/>
            <p:cNvGrpSpPr/>
            <p:nvPr/>
          </p:nvGrpSpPr>
          <p:grpSpPr>
            <a:xfrm>
              <a:off x="7588783" y="1156916"/>
              <a:ext cx="894128" cy="2613891"/>
              <a:chOff x="6433828" y="1823786"/>
              <a:chExt cx="894128" cy="2314139"/>
            </a:xfrm>
          </p:grpSpPr>
          <p:cxnSp>
            <p:nvCxnSpPr>
              <p:cNvPr id="117" name="Straight Connector 116"/>
              <p:cNvCxnSpPr>
                <a:stCxn id="118" idx="2"/>
              </p:cNvCxnSpPr>
              <p:nvPr/>
            </p:nvCxnSpPr>
            <p:spPr>
              <a:xfrm>
                <a:off x="6880892" y="2289785"/>
                <a:ext cx="0" cy="1848140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Rectangle 117"/>
              <p:cNvSpPr/>
              <p:nvPr/>
            </p:nvSpPr>
            <p:spPr>
              <a:xfrm>
                <a:off x="6433828" y="1823786"/>
                <a:ext cx="894128" cy="465999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txBody>
              <a:bodyPr tIns="0" bIns="0" rtlCol="0" anchor="ctr">
                <a:noAutofit/>
              </a:bodyPr>
              <a:lstStyle/>
              <a:p>
                <a:pPr algn="ctr">
                  <a:lnSpc>
                    <a:spcPct val="85000"/>
                  </a:lnSpc>
                  <a:spcBef>
                    <a:spcPts val="300"/>
                  </a:spcBef>
                </a:pPr>
                <a:r>
                  <a:rPr lang="en-US" sz="1600" dirty="0">
                    <a:solidFill>
                      <a:srgbClr val="0074A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90% </a:t>
                </a:r>
                <a:r>
                  <a:rPr lang="en-US" sz="1100" dirty="0">
                    <a:solidFill>
                      <a:srgbClr val="0074AF"/>
                    </a:solidFill>
                    <a:cs typeface="Segoe UI Semibold" panose="020B0702040204020203" pitchFamily="34" charset="0"/>
                  </a:rPr>
                  <a:t>Automated</a:t>
                </a:r>
                <a:endParaRPr lang="en-US" sz="1200" dirty="0">
                  <a:solidFill>
                    <a:srgbClr val="0074AF"/>
                  </a:solidFill>
                  <a:cs typeface="Segoe UI Semibold" panose="020B0702040204020203" pitchFamily="34" charset="0"/>
                </a:endParaRPr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4607953" y="1683277"/>
              <a:ext cx="894128" cy="2109934"/>
              <a:chOff x="6455275" y="2033036"/>
              <a:chExt cx="894128" cy="1867974"/>
            </a:xfrm>
          </p:grpSpPr>
          <p:cxnSp>
            <p:nvCxnSpPr>
              <p:cNvPr id="114" name="Straight Connector 113"/>
              <p:cNvCxnSpPr>
                <a:stCxn id="115" idx="2"/>
              </p:cNvCxnSpPr>
              <p:nvPr/>
            </p:nvCxnSpPr>
            <p:spPr>
              <a:xfrm flipH="1">
                <a:off x="6898469" y="2499035"/>
                <a:ext cx="3870" cy="1401975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Rectangle 114"/>
              <p:cNvSpPr/>
              <p:nvPr/>
            </p:nvSpPr>
            <p:spPr>
              <a:xfrm>
                <a:off x="6455275" y="2033036"/>
                <a:ext cx="894128" cy="465999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txBody>
              <a:bodyPr tIns="0" bIns="0" rtlCol="0" anchor="ctr">
                <a:noAutofit/>
              </a:bodyPr>
              <a:lstStyle/>
              <a:p>
                <a:pPr algn="ctr">
                  <a:lnSpc>
                    <a:spcPct val="85000"/>
                  </a:lnSpc>
                  <a:spcBef>
                    <a:spcPts val="300"/>
                  </a:spcBef>
                </a:pPr>
                <a:r>
                  <a:rPr lang="en-US" sz="1600" dirty="0">
                    <a:solidFill>
                      <a:srgbClr val="0074AF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80% </a:t>
                </a:r>
                <a:r>
                  <a:rPr lang="en-US" sz="1100" dirty="0">
                    <a:solidFill>
                      <a:srgbClr val="0074AF"/>
                    </a:solidFill>
                    <a:cs typeface="Segoe UI Semibold" panose="020B0702040204020203" pitchFamily="34" charset="0"/>
                  </a:rPr>
                  <a:t>Automated</a:t>
                </a:r>
                <a:endParaRPr lang="en-US" sz="1200" dirty="0">
                  <a:solidFill>
                    <a:srgbClr val="0074AF"/>
                  </a:solidFill>
                  <a:cs typeface="Segoe UI Semibold" panose="020B0702040204020203" pitchFamily="34" charset="0"/>
                </a:endParaRPr>
              </a:p>
            </p:txBody>
          </p:sp>
        </p:grpSp>
        <p:sp>
          <p:nvSpPr>
            <p:cNvPr id="149" name="Rectangle 148"/>
            <p:cNvSpPr/>
            <p:nvPr/>
          </p:nvSpPr>
          <p:spPr>
            <a:xfrm>
              <a:off x="2332767" y="4138796"/>
              <a:ext cx="1141229" cy="3079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2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3589281" y="4138795"/>
              <a:ext cx="1232091" cy="29205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3</a:t>
              </a: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5199155" y="4136566"/>
              <a:ext cx="1292466" cy="3079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4</a:t>
              </a: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6636815" y="4136565"/>
              <a:ext cx="1158444" cy="30792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4572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 Semibold" panose="020B0702040204020203" pitchFamily="34" charset="0"/>
                </a:rPr>
                <a:t>Month 5</a:t>
              </a: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2332767" y="4435522"/>
              <a:ext cx="2488604" cy="7247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9144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tensive Development</a:t>
              </a: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5199154" y="4435522"/>
              <a:ext cx="2596105" cy="7247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bIns="9144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cale Down Development</a:t>
              </a:r>
            </a:p>
          </p:txBody>
        </p:sp>
        <p:sp>
          <p:nvSpPr>
            <p:cNvPr id="78" name="Oval 77"/>
            <p:cNvSpPr/>
            <p:nvPr/>
          </p:nvSpPr>
          <p:spPr>
            <a:xfrm>
              <a:off x="2844028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4026976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5862929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6988993" y="3667917"/>
              <a:ext cx="234745" cy="23474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2332767" y="5152206"/>
              <a:ext cx="5462492" cy="1027248"/>
              <a:chOff x="2301165" y="5342115"/>
              <a:chExt cx="5462492" cy="1027248"/>
            </a:xfrm>
          </p:grpSpPr>
          <p:sp>
            <p:nvSpPr>
              <p:cNvPr id="182" name="Freeform 21"/>
              <p:cNvSpPr/>
              <p:nvPr/>
            </p:nvSpPr>
            <p:spPr>
              <a:xfrm>
                <a:off x="2301165" y="5342115"/>
                <a:ext cx="5462492" cy="102724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txBody>
              <a:bodyPr rot="0" spcFirstLastPara="0" vertOverflow="overflow" horzOverflow="overflow" vert="horz" wrap="square" lIns="91440" tIns="365760" rIns="91440" bIns="914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spcBef>
                    <a:spcPts val="600"/>
                  </a:spcBef>
                  <a:defRPr/>
                </a:pPr>
                <a:endParaRPr lang="en-US" sz="14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4" name="Rectangle 183"/>
              <p:cNvSpPr/>
              <p:nvPr/>
            </p:nvSpPr>
            <p:spPr>
              <a:xfrm>
                <a:off x="3277822" y="5373391"/>
                <a:ext cx="3158177" cy="80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bIns="9144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</a:pP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Use </a:t>
                </a:r>
                <a:r>
                  <a:rPr lang="en-US" sz="1400" dirty="0">
                    <a:solidFill>
                      <a:schemeClr val="tx2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Neal Analytics’ </a:t>
                </a:r>
                <a:br>
                  <a:rPr lang="en-US" sz="1400" dirty="0">
                    <a:solidFill>
                      <a:schemeClr val="tx2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lang="en-US" sz="1400" dirty="0">
                    <a:solidFill>
                      <a:schemeClr val="tx2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BOT knowledge 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to build fast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6779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94" grpId="0" animBg="1"/>
      <p:bldP spid="166" grpId="0" animBg="1"/>
      <p:bldP spid="167" grpId="0" animBg="1"/>
      <p:bldP spid="171" grpId="0" animBg="1"/>
      <p:bldP spid="172" grpId="0" animBg="1"/>
      <p:bldP spid="106" grpId="0" animBg="1"/>
      <p:bldP spid="107" grpId="0" animBg="1"/>
      <p:bldP spid="151" grpId="0" animBg="1"/>
      <p:bldP spid="152" grpId="0" animBg="1"/>
      <p:bldP spid="153" grpId="0" animBg="1"/>
      <p:bldP spid="154" grpId="0" animBg="1"/>
      <p:bldP spid="155" grpId="0" animBg="1"/>
      <p:bldP spid="15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8077495" y="5190301"/>
            <a:ext cx="3754050" cy="6534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226014" y="5174026"/>
            <a:ext cx="3754050" cy="6534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71475" y="5175849"/>
            <a:ext cx="3754050" cy="6534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935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1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Paths to Bot Intera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1475" y="1623060"/>
            <a:ext cx="3754050" cy="420624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respond to direct questions related to procurement in conversational form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224484" y="1623060"/>
            <a:ext cx="3754050" cy="420624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follows business logic matching desired procurement proces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8077495" y="1623060"/>
            <a:ext cx="3754050" cy="420624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can be updated by uploading simple instructions into a database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475" y="1066800"/>
            <a:ext cx="3754050" cy="55626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lIns="548640" rtlCol="0" anchor="ctr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+mj-lt"/>
              </a:rPr>
              <a:t>Natural Languag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224484" y="1066800"/>
            <a:ext cx="3754050" cy="55626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lIns="548640" rtlCol="0" anchor="ctr">
            <a:noAutofit/>
          </a:bodyPr>
          <a:lstStyle/>
          <a:p>
            <a:r>
              <a:rPr lang="en-US" sz="2400">
                <a:solidFill>
                  <a:schemeClr val="bg1"/>
                </a:solidFill>
                <a:latin typeface="+mj-lt"/>
              </a:rPr>
              <a:t>Business Process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77495" y="1066800"/>
            <a:ext cx="3754050" cy="55626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lIns="548640" rtlCol="0" anchor="ctr">
            <a:noAutofit/>
          </a:bodyPr>
          <a:lstStyle/>
          <a:p>
            <a:r>
              <a:rPr lang="en-US" sz="2400">
                <a:solidFill>
                  <a:schemeClr val="bg1"/>
                </a:solidFill>
                <a:latin typeface="+mj-lt"/>
              </a:rPr>
              <a:t>Logic Programming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71475" y="1066800"/>
            <a:ext cx="381000" cy="556260"/>
            <a:chOff x="371475" y="1066800"/>
            <a:chExt cx="381000" cy="556260"/>
          </a:xfrm>
        </p:grpSpPr>
        <p:sp>
          <p:nvSpPr>
            <p:cNvPr id="9" name="Rectangle 8"/>
            <p:cNvSpPr/>
            <p:nvPr/>
          </p:nvSpPr>
          <p:spPr>
            <a:xfrm>
              <a:off x="371475" y="1066800"/>
              <a:ext cx="378619" cy="556260"/>
            </a:xfrm>
            <a:prstGeom prst="rect">
              <a:avLst/>
            </a:prstGeom>
            <a:noFill/>
            <a:ln w="3175"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+mn-lt"/>
                </a:rPr>
                <a:t>1</a:t>
              </a: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752475" y="1118354"/>
              <a:ext cx="0" cy="453152"/>
            </a:xfrm>
            <a:prstGeom prst="line">
              <a:avLst/>
            </a:prstGeom>
            <a:ln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/>
          <p:cNvGrpSpPr/>
          <p:nvPr/>
        </p:nvGrpSpPr>
        <p:grpSpPr>
          <a:xfrm>
            <a:off x="4224484" y="1066800"/>
            <a:ext cx="381000" cy="556260"/>
            <a:chOff x="371475" y="1066800"/>
            <a:chExt cx="381000" cy="556260"/>
          </a:xfrm>
        </p:grpSpPr>
        <p:sp>
          <p:nvSpPr>
            <p:cNvPr id="34" name="Rectangle 33"/>
            <p:cNvSpPr/>
            <p:nvPr/>
          </p:nvSpPr>
          <p:spPr>
            <a:xfrm>
              <a:off x="371475" y="1066800"/>
              <a:ext cx="378619" cy="556260"/>
            </a:xfrm>
            <a:prstGeom prst="rect">
              <a:avLst/>
            </a:prstGeom>
            <a:noFill/>
            <a:ln w="3175"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+mn-lt"/>
                </a:rPr>
                <a:t>2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752475" y="1118354"/>
              <a:ext cx="0" cy="453152"/>
            </a:xfrm>
            <a:prstGeom prst="line">
              <a:avLst/>
            </a:prstGeom>
            <a:ln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8077493" y="1066800"/>
            <a:ext cx="381000" cy="556260"/>
            <a:chOff x="371475" y="1066800"/>
            <a:chExt cx="381000" cy="556260"/>
          </a:xfrm>
        </p:grpSpPr>
        <p:sp>
          <p:nvSpPr>
            <p:cNvPr id="37" name="Rectangle 36"/>
            <p:cNvSpPr/>
            <p:nvPr/>
          </p:nvSpPr>
          <p:spPr>
            <a:xfrm>
              <a:off x="371475" y="1066800"/>
              <a:ext cx="378619" cy="556260"/>
            </a:xfrm>
            <a:prstGeom prst="rect">
              <a:avLst/>
            </a:prstGeom>
            <a:noFill/>
            <a:ln w="3175"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+mn-lt"/>
                </a:rPr>
                <a:t>3</a:t>
              </a:r>
            </a:p>
          </p:txBody>
        </p:sp>
        <p:cxnSp>
          <p:nvCxnSpPr>
            <p:cNvPr id="38" name="Straight Connector 37"/>
            <p:cNvCxnSpPr/>
            <p:nvPr/>
          </p:nvCxnSpPr>
          <p:spPr>
            <a:xfrm>
              <a:off x="752475" y="1118354"/>
              <a:ext cx="0" cy="453152"/>
            </a:xfrm>
            <a:prstGeom prst="line">
              <a:avLst/>
            </a:prstGeom>
            <a:ln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9" name="Picture 4" descr="Image result for natural language processing microsoft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75" y="1674614"/>
            <a:ext cx="3340251" cy="3198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8947770" y="1674614"/>
            <a:ext cx="20135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to make tea?</a:t>
            </a:r>
          </a:p>
        </p:txBody>
      </p:sp>
      <p:pic>
        <p:nvPicPr>
          <p:cNvPr id="42" name="Picture 8" descr="Image result for pseudo code"/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2" t="34114" r="37717"/>
          <a:stretch/>
        </p:blipFill>
        <p:spPr bwMode="auto">
          <a:xfrm>
            <a:off x="8235293" y="2004519"/>
            <a:ext cx="3438454" cy="2977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Image result for business process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441" y="1819853"/>
            <a:ext cx="3576136" cy="237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5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088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8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646331"/>
          </a:xfrm>
        </p:spPr>
        <p:txBody>
          <a:bodyPr/>
          <a:lstStyle/>
          <a:p>
            <a:r>
              <a:rPr lang="en-US" sz="4000" dirty="0"/>
              <a:t>Bot Conceptual Architecture – Helpdesk Agent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475" y="6346334"/>
            <a:ext cx="3132268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Unconstrained* “Art of the Possible, Budget &amp; Timeline no bar</a:t>
            </a:r>
            <a:endParaRPr lang="en-US" sz="9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371475" y="1226363"/>
            <a:ext cx="11449050" cy="507918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t">
            <a:no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Intelligent” Chat Bot Agent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26462" y="2501544"/>
            <a:ext cx="2079626" cy="52115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r Seeking Help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581761" y="2501544"/>
            <a:ext cx="285688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active, Intelligent Automated Support Technology with “self-healing” characteristics: converses, clarifies, and self-learns/improves</a:t>
            </a:r>
          </a:p>
        </p:txBody>
      </p:sp>
      <p:cxnSp>
        <p:nvCxnSpPr>
          <p:cNvPr id="71" name="Straight Arrow Connector 70"/>
          <p:cNvCxnSpPr/>
          <p:nvPr/>
        </p:nvCxnSpPr>
        <p:spPr>
          <a:xfrm>
            <a:off x="2751630" y="2012643"/>
            <a:ext cx="2103120" cy="0"/>
          </a:xfrm>
          <a:prstGeom prst="straightConnector1">
            <a:avLst/>
          </a:prstGeom>
          <a:ln w="15875">
            <a:solidFill>
              <a:schemeClr val="bg1">
                <a:lumMod val="65000"/>
              </a:schemeClr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>
          <a:xfrm>
            <a:off x="7438645" y="2012643"/>
            <a:ext cx="2103120" cy="0"/>
          </a:xfrm>
          <a:prstGeom prst="straightConnector1">
            <a:avLst/>
          </a:prstGeom>
          <a:ln w="15875">
            <a:solidFill>
              <a:schemeClr val="bg1">
                <a:lumMod val="6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/>
          <p:cNvGrpSpPr/>
          <p:nvPr/>
        </p:nvGrpSpPr>
        <p:grpSpPr>
          <a:xfrm>
            <a:off x="6389701" y="1620253"/>
            <a:ext cx="372996" cy="500080"/>
            <a:chOff x="7688569" y="3019296"/>
            <a:chExt cx="907344" cy="1254703"/>
          </a:xfrm>
          <a:solidFill>
            <a:srgbClr val="666666"/>
          </a:solidFill>
        </p:grpSpPr>
        <p:grpSp>
          <p:nvGrpSpPr>
            <p:cNvPr id="115" name="Group 114"/>
            <p:cNvGrpSpPr/>
            <p:nvPr/>
          </p:nvGrpSpPr>
          <p:grpSpPr bwMode="black">
            <a:xfrm>
              <a:off x="7928590" y="3224209"/>
              <a:ext cx="429598" cy="1049790"/>
              <a:chOff x="3233738" y="168276"/>
              <a:chExt cx="2651125" cy="6480174"/>
            </a:xfrm>
            <a:grpFill/>
          </p:grpSpPr>
          <p:sp>
            <p:nvSpPr>
              <p:cNvPr id="125" name="Freeform 124"/>
              <p:cNvSpPr>
                <a:spLocks/>
              </p:cNvSpPr>
              <p:nvPr/>
            </p:nvSpPr>
            <p:spPr bwMode="black">
              <a:xfrm>
                <a:off x="3679825" y="5110163"/>
                <a:ext cx="2028825" cy="1538287"/>
              </a:xfrm>
              <a:custGeom>
                <a:avLst/>
                <a:gdLst>
                  <a:gd name="T0" fmla="*/ 422 w 541"/>
                  <a:gd name="T1" fmla="*/ 196 h 410"/>
                  <a:gd name="T2" fmla="*/ 536 w 541"/>
                  <a:gd name="T3" fmla="*/ 14 h 410"/>
                  <a:gd name="T4" fmla="*/ 528 w 541"/>
                  <a:gd name="T5" fmla="*/ 0 h 410"/>
                  <a:gd name="T6" fmla="*/ 12 w 541"/>
                  <a:gd name="T7" fmla="*/ 0 h 410"/>
                  <a:gd name="T8" fmla="*/ 5 w 541"/>
                  <a:gd name="T9" fmla="*/ 14 h 410"/>
                  <a:gd name="T10" fmla="*/ 138 w 541"/>
                  <a:gd name="T11" fmla="*/ 197 h 410"/>
                  <a:gd name="T12" fmla="*/ 149 w 541"/>
                  <a:gd name="T13" fmla="*/ 206 h 410"/>
                  <a:gd name="T14" fmla="*/ 142 w 541"/>
                  <a:gd name="T15" fmla="*/ 229 h 410"/>
                  <a:gd name="T16" fmla="*/ 152 w 541"/>
                  <a:gd name="T17" fmla="*/ 256 h 410"/>
                  <a:gd name="T18" fmla="*/ 142 w 541"/>
                  <a:gd name="T19" fmla="*/ 282 h 410"/>
                  <a:gd name="T20" fmla="*/ 152 w 541"/>
                  <a:gd name="T21" fmla="*/ 309 h 410"/>
                  <a:gd name="T22" fmla="*/ 142 w 541"/>
                  <a:gd name="T23" fmla="*/ 336 h 410"/>
                  <a:gd name="T24" fmla="*/ 184 w 541"/>
                  <a:gd name="T25" fmla="*/ 377 h 410"/>
                  <a:gd name="T26" fmla="*/ 212 w 541"/>
                  <a:gd name="T27" fmla="*/ 377 h 410"/>
                  <a:gd name="T28" fmla="*/ 234 w 541"/>
                  <a:gd name="T29" fmla="*/ 407 h 410"/>
                  <a:gd name="T30" fmla="*/ 240 w 541"/>
                  <a:gd name="T31" fmla="*/ 410 h 410"/>
                  <a:gd name="T32" fmla="*/ 335 w 541"/>
                  <a:gd name="T33" fmla="*/ 410 h 410"/>
                  <a:gd name="T34" fmla="*/ 341 w 541"/>
                  <a:gd name="T35" fmla="*/ 407 h 410"/>
                  <a:gd name="T36" fmla="*/ 360 w 541"/>
                  <a:gd name="T37" fmla="*/ 377 h 410"/>
                  <a:gd name="T38" fmla="*/ 384 w 541"/>
                  <a:gd name="T39" fmla="*/ 377 h 410"/>
                  <a:gd name="T40" fmla="*/ 425 w 541"/>
                  <a:gd name="T41" fmla="*/ 336 h 410"/>
                  <a:gd name="T42" fmla="*/ 415 w 541"/>
                  <a:gd name="T43" fmla="*/ 309 h 410"/>
                  <a:gd name="T44" fmla="*/ 425 w 541"/>
                  <a:gd name="T45" fmla="*/ 282 h 410"/>
                  <a:gd name="T46" fmla="*/ 415 w 541"/>
                  <a:gd name="T47" fmla="*/ 256 h 410"/>
                  <a:gd name="T48" fmla="*/ 425 w 541"/>
                  <a:gd name="T49" fmla="*/ 229 h 410"/>
                  <a:gd name="T50" fmla="*/ 416 w 541"/>
                  <a:gd name="T51" fmla="*/ 203 h 410"/>
                  <a:gd name="T52" fmla="*/ 422 w 541"/>
                  <a:gd name="T53" fmla="*/ 196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1" h="410">
                    <a:moveTo>
                      <a:pt x="422" y="196"/>
                    </a:moveTo>
                    <a:cubicBezTo>
                      <a:pt x="536" y="14"/>
                      <a:pt x="536" y="14"/>
                      <a:pt x="536" y="14"/>
                    </a:cubicBezTo>
                    <a:cubicBezTo>
                      <a:pt x="541" y="7"/>
                      <a:pt x="537" y="0"/>
                      <a:pt x="52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3" y="0"/>
                      <a:pt x="0" y="6"/>
                      <a:pt x="5" y="14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0" y="201"/>
                      <a:pt x="145" y="204"/>
                      <a:pt x="149" y="206"/>
                    </a:cubicBezTo>
                    <a:cubicBezTo>
                      <a:pt x="145" y="213"/>
                      <a:pt x="142" y="221"/>
                      <a:pt x="142" y="229"/>
                    </a:cubicBezTo>
                    <a:cubicBezTo>
                      <a:pt x="142" y="239"/>
                      <a:pt x="146" y="248"/>
                      <a:pt x="152" y="256"/>
                    </a:cubicBezTo>
                    <a:cubicBezTo>
                      <a:pt x="146" y="263"/>
                      <a:pt x="142" y="272"/>
                      <a:pt x="142" y="282"/>
                    </a:cubicBezTo>
                    <a:cubicBezTo>
                      <a:pt x="142" y="293"/>
                      <a:pt x="146" y="302"/>
                      <a:pt x="152" y="309"/>
                    </a:cubicBezTo>
                    <a:cubicBezTo>
                      <a:pt x="146" y="316"/>
                      <a:pt x="142" y="326"/>
                      <a:pt x="142" y="336"/>
                    </a:cubicBezTo>
                    <a:cubicBezTo>
                      <a:pt x="142" y="359"/>
                      <a:pt x="161" y="377"/>
                      <a:pt x="184" y="377"/>
                    </a:cubicBezTo>
                    <a:cubicBezTo>
                      <a:pt x="212" y="377"/>
                      <a:pt x="212" y="377"/>
                      <a:pt x="212" y="377"/>
                    </a:cubicBezTo>
                    <a:cubicBezTo>
                      <a:pt x="234" y="407"/>
                      <a:pt x="234" y="407"/>
                      <a:pt x="234" y="407"/>
                    </a:cubicBezTo>
                    <a:cubicBezTo>
                      <a:pt x="235" y="409"/>
                      <a:pt x="238" y="410"/>
                      <a:pt x="240" y="410"/>
                    </a:cubicBezTo>
                    <a:cubicBezTo>
                      <a:pt x="335" y="410"/>
                      <a:pt x="335" y="410"/>
                      <a:pt x="335" y="410"/>
                    </a:cubicBezTo>
                    <a:cubicBezTo>
                      <a:pt x="337" y="410"/>
                      <a:pt x="340" y="409"/>
                      <a:pt x="341" y="407"/>
                    </a:cubicBezTo>
                    <a:cubicBezTo>
                      <a:pt x="360" y="377"/>
                      <a:pt x="360" y="377"/>
                      <a:pt x="360" y="377"/>
                    </a:cubicBezTo>
                    <a:cubicBezTo>
                      <a:pt x="384" y="377"/>
                      <a:pt x="384" y="377"/>
                      <a:pt x="384" y="377"/>
                    </a:cubicBezTo>
                    <a:cubicBezTo>
                      <a:pt x="407" y="377"/>
                      <a:pt x="425" y="359"/>
                      <a:pt x="425" y="336"/>
                    </a:cubicBezTo>
                    <a:cubicBezTo>
                      <a:pt x="425" y="326"/>
                      <a:pt x="421" y="316"/>
                      <a:pt x="415" y="309"/>
                    </a:cubicBezTo>
                    <a:cubicBezTo>
                      <a:pt x="421" y="302"/>
                      <a:pt x="425" y="293"/>
                      <a:pt x="425" y="282"/>
                    </a:cubicBezTo>
                    <a:cubicBezTo>
                      <a:pt x="425" y="272"/>
                      <a:pt x="421" y="263"/>
                      <a:pt x="415" y="256"/>
                    </a:cubicBezTo>
                    <a:cubicBezTo>
                      <a:pt x="421" y="248"/>
                      <a:pt x="425" y="239"/>
                      <a:pt x="425" y="229"/>
                    </a:cubicBezTo>
                    <a:cubicBezTo>
                      <a:pt x="425" y="219"/>
                      <a:pt x="421" y="210"/>
                      <a:pt x="416" y="203"/>
                    </a:cubicBezTo>
                    <a:cubicBezTo>
                      <a:pt x="418" y="201"/>
                      <a:pt x="420" y="198"/>
                      <a:pt x="422" y="19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  <p:sp>
            <p:nvSpPr>
              <p:cNvPr id="126" name="Freeform 125"/>
              <p:cNvSpPr>
                <a:spLocks noEditPoints="1"/>
              </p:cNvSpPr>
              <p:nvPr/>
            </p:nvSpPr>
            <p:spPr bwMode="black">
              <a:xfrm>
                <a:off x="3233738" y="168276"/>
                <a:ext cx="2651125" cy="4124325"/>
              </a:xfrm>
              <a:custGeom>
                <a:avLst/>
                <a:gdLst>
                  <a:gd name="T0" fmla="*/ 122 w 707"/>
                  <a:gd name="T1" fmla="*/ 705 h 1100"/>
                  <a:gd name="T2" fmla="*/ 642 w 707"/>
                  <a:gd name="T3" fmla="*/ 515 h 1100"/>
                  <a:gd name="T4" fmla="*/ 691 w 707"/>
                  <a:gd name="T5" fmla="*/ 408 h 1100"/>
                  <a:gd name="T6" fmla="*/ 584 w 707"/>
                  <a:gd name="T7" fmla="*/ 359 h 1100"/>
                  <a:gd name="T8" fmla="*/ 65 w 707"/>
                  <a:gd name="T9" fmla="*/ 548 h 1100"/>
                  <a:gd name="T10" fmla="*/ 15 w 707"/>
                  <a:gd name="T11" fmla="*/ 655 h 1100"/>
                  <a:gd name="T12" fmla="*/ 122 w 707"/>
                  <a:gd name="T13" fmla="*/ 705 h 1100"/>
                  <a:gd name="T14" fmla="*/ 652 w 707"/>
                  <a:gd name="T15" fmla="*/ 714 h 1100"/>
                  <a:gd name="T16" fmla="*/ 706 w 707"/>
                  <a:gd name="T17" fmla="*/ 636 h 1100"/>
                  <a:gd name="T18" fmla="*/ 701 w 707"/>
                  <a:gd name="T19" fmla="*/ 608 h 1100"/>
                  <a:gd name="T20" fmla="*/ 594 w 707"/>
                  <a:gd name="T21" fmla="*/ 558 h 1100"/>
                  <a:gd name="T22" fmla="*/ 75 w 707"/>
                  <a:gd name="T23" fmla="*/ 748 h 1100"/>
                  <a:gd name="T24" fmla="*/ 20 w 707"/>
                  <a:gd name="T25" fmla="*/ 825 h 1100"/>
                  <a:gd name="T26" fmla="*/ 20 w 707"/>
                  <a:gd name="T27" fmla="*/ 826 h 1100"/>
                  <a:gd name="T28" fmla="*/ 73 w 707"/>
                  <a:gd name="T29" fmla="*/ 904 h 1100"/>
                  <a:gd name="T30" fmla="*/ 190 w 707"/>
                  <a:gd name="T31" fmla="*/ 951 h 1100"/>
                  <a:gd name="T32" fmla="*/ 190 w 707"/>
                  <a:gd name="T33" fmla="*/ 1014 h 1100"/>
                  <a:gd name="T34" fmla="*/ 191 w 707"/>
                  <a:gd name="T35" fmla="*/ 1023 h 1100"/>
                  <a:gd name="T36" fmla="*/ 132 w 707"/>
                  <a:gd name="T37" fmla="*/ 1023 h 1100"/>
                  <a:gd name="T38" fmla="*/ 115 w 707"/>
                  <a:gd name="T39" fmla="*/ 1040 h 1100"/>
                  <a:gd name="T40" fmla="*/ 115 w 707"/>
                  <a:gd name="T41" fmla="*/ 1083 h 1100"/>
                  <a:gd name="T42" fmla="*/ 132 w 707"/>
                  <a:gd name="T43" fmla="*/ 1100 h 1100"/>
                  <a:gd name="T44" fmla="*/ 648 w 707"/>
                  <a:gd name="T45" fmla="*/ 1100 h 1100"/>
                  <a:gd name="T46" fmla="*/ 664 w 707"/>
                  <a:gd name="T47" fmla="*/ 1083 h 1100"/>
                  <a:gd name="T48" fmla="*/ 664 w 707"/>
                  <a:gd name="T49" fmla="*/ 1040 h 1100"/>
                  <a:gd name="T50" fmla="*/ 648 w 707"/>
                  <a:gd name="T51" fmla="*/ 1023 h 1100"/>
                  <a:gd name="T52" fmla="*/ 622 w 707"/>
                  <a:gd name="T53" fmla="*/ 1023 h 1100"/>
                  <a:gd name="T54" fmla="*/ 622 w 707"/>
                  <a:gd name="T55" fmla="*/ 1013 h 1100"/>
                  <a:gd name="T56" fmla="*/ 622 w 707"/>
                  <a:gd name="T57" fmla="*/ 873 h 1100"/>
                  <a:gd name="T58" fmla="*/ 539 w 707"/>
                  <a:gd name="T59" fmla="*/ 790 h 1100"/>
                  <a:gd name="T60" fmla="*/ 456 w 707"/>
                  <a:gd name="T61" fmla="*/ 873 h 1100"/>
                  <a:gd name="T62" fmla="*/ 456 w 707"/>
                  <a:gd name="T63" fmla="*/ 1013 h 1100"/>
                  <a:gd name="T64" fmla="*/ 457 w 707"/>
                  <a:gd name="T65" fmla="*/ 1023 h 1100"/>
                  <a:gd name="T66" fmla="*/ 355 w 707"/>
                  <a:gd name="T67" fmla="*/ 1023 h 1100"/>
                  <a:gd name="T68" fmla="*/ 356 w 707"/>
                  <a:gd name="T69" fmla="*/ 1014 h 1100"/>
                  <a:gd name="T70" fmla="*/ 357 w 707"/>
                  <a:gd name="T71" fmla="*/ 895 h 1100"/>
                  <a:gd name="T72" fmla="*/ 346 w 707"/>
                  <a:gd name="T73" fmla="*/ 855 h 1100"/>
                  <a:gd name="T74" fmla="*/ 161 w 707"/>
                  <a:gd name="T75" fmla="*/ 885 h 1100"/>
                  <a:gd name="T76" fmla="*/ 348 w 707"/>
                  <a:gd name="T77" fmla="*/ 826 h 1100"/>
                  <a:gd name="T78" fmla="*/ 652 w 707"/>
                  <a:gd name="T79" fmla="*/ 714 h 1100"/>
                  <a:gd name="T80" fmla="*/ 122 w 707"/>
                  <a:gd name="T81" fmla="*/ 500 h 1100"/>
                  <a:gd name="T82" fmla="*/ 642 w 707"/>
                  <a:gd name="T83" fmla="*/ 310 h 1100"/>
                  <a:gd name="T84" fmla="*/ 696 w 707"/>
                  <a:gd name="T85" fmla="*/ 232 h 1100"/>
                  <a:gd name="T86" fmla="*/ 695 w 707"/>
                  <a:gd name="T87" fmla="*/ 223 h 1100"/>
                  <a:gd name="T88" fmla="*/ 624 w 707"/>
                  <a:gd name="T89" fmla="*/ 149 h 1100"/>
                  <a:gd name="T90" fmla="*/ 499 w 707"/>
                  <a:gd name="T91" fmla="*/ 132 h 1100"/>
                  <a:gd name="T92" fmla="*/ 509 w 707"/>
                  <a:gd name="T93" fmla="*/ 93 h 1100"/>
                  <a:gd name="T94" fmla="*/ 504 w 707"/>
                  <a:gd name="T95" fmla="*/ 66 h 1100"/>
                  <a:gd name="T96" fmla="*/ 398 w 707"/>
                  <a:gd name="T97" fmla="*/ 15 h 1100"/>
                  <a:gd name="T98" fmla="*/ 166 w 707"/>
                  <a:gd name="T99" fmla="*/ 96 h 1100"/>
                  <a:gd name="T100" fmla="*/ 110 w 707"/>
                  <a:gd name="T101" fmla="*/ 175 h 1100"/>
                  <a:gd name="T102" fmla="*/ 111 w 707"/>
                  <a:gd name="T103" fmla="*/ 184 h 1100"/>
                  <a:gd name="T104" fmla="*/ 182 w 707"/>
                  <a:gd name="T105" fmla="*/ 257 h 1100"/>
                  <a:gd name="T106" fmla="*/ 243 w 707"/>
                  <a:gd name="T107" fmla="*/ 266 h 1100"/>
                  <a:gd name="T108" fmla="*/ 439 w 707"/>
                  <a:gd name="T109" fmla="*/ 213 h 1100"/>
                  <a:gd name="T110" fmla="*/ 225 w 707"/>
                  <a:gd name="T111" fmla="*/ 285 h 1100"/>
                  <a:gd name="T112" fmla="*/ 65 w 707"/>
                  <a:gd name="T113" fmla="*/ 343 h 1100"/>
                  <a:gd name="T114" fmla="*/ 11 w 707"/>
                  <a:gd name="T115" fmla="*/ 422 h 1100"/>
                  <a:gd name="T116" fmla="*/ 15 w 707"/>
                  <a:gd name="T117" fmla="*/ 451 h 1100"/>
                  <a:gd name="T118" fmla="*/ 122 w 707"/>
                  <a:gd name="T119" fmla="*/ 500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7" h="1100">
                    <a:moveTo>
                      <a:pt x="122" y="705"/>
                    </a:moveTo>
                    <a:cubicBezTo>
                      <a:pt x="642" y="515"/>
                      <a:pt x="642" y="515"/>
                      <a:pt x="642" y="515"/>
                    </a:cubicBezTo>
                    <a:cubicBezTo>
                      <a:pt x="684" y="499"/>
                      <a:pt x="707" y="451"/>
                      <a:pt x="691" y="408"/>
                    </a:cubicBezTo>
                    <a:cubicBezTo>
                      <a:pt x="675" y="365"/>
                      <a:pt x="627" y="343"/>
                      <a:pt x="584" y="359"/>
                    </a:cubicBezTo>
                    <a:cubicBezTo>
                      <a:pt x="65" y="548"/>
                      <a:pt x="65" y="548"/>
                      <a:pt x="65" y="548"/>
                    </a:cubicBezTo>
                    <a:cubicBezTo>
                      <a:pt x="22" y="564"/>
                      <a:pt x="0" y="612"/>
                      <a:pt x="15" y="655"/>
                    </a:cubicBezTo>
                    <a:cubicBezTo>
                      <a:pt x="31" y="698"/>
                      <a:pt x="79" y="721"/>
                      <a:pt x="122" y="705"/>
                    </a:cubicBezTo>
                    <a:close/>
                    <a:moveTo>
                      <a:pt x="652" y="714"/>
                    </a:moveTo>
                    <a:cubicBezTo>
                      <a:pt x="685" y="702"/>
                      <a:pt x="706" y="671"/>
                      <a:pt x="706" y="636"/>
                    </a:cubicBezTo>
                    <a:cubicBezTo>
                      <a:pt x="706" y="627"/>
                      <a:pt x="704" y="617"/>
                      <a:pt x="701" y="608"/>
                    </a:cubicBezTo>
                    <a:cubicBezTo>
                      <a:pt x="685" y="565"/>
                      <a:pt x="637" y="543"/>
                      <a:pt x="594" y="558"/>
                    </a:cubicBezTo>
                    <a:cubicBezTo>
                      <a:pt x="75" y="748"/>
                      <a:pt x="75" y="748"/>
                      <a:pt x="75" y="748"/>
                    </a:cubicBezTo>
                    <a:cubicBezTo>
                      <a:pt x="43" y="760"/>
                      <a:pt x="21" y="790"/>
                      <a:pt x="20" y="825"/>
                    </a:cubicBezTo>
                    <a:cubicBezTo>
                      <a:pt x="20" y="826"/>
                      <a:pt x="20" y="826"/>
                      <a:pt x="20" y="826"/>
                    </a:cubicBezTo>
                    <a:cubicBezTo>
                      <a:pt x="20" y="860"/>
                      <a:pt x="41" y="891"/>
                      <a:pt x="73" y="904"/>
                    </a:cubicBezTo>
                    <a:cubicBezTo>
                      <a:pt x="73" y="904"/>
                      <a:pt x="140" y="931"/>
                      <a:pt x="190" y="951"/>
                    </a:cubicBezTo>
                    <a:cubicBezTo>
                      <a:pt x="190" y="982"/>
                      <a:pt x="190" y="1014"/>
                      <a:pt x="190" y="1014"/>
                    </a:cubicBezTo>
                    <a:cubicBezTo>
                      <a:pt x="190" y="1017"/>
                      <a:pt x="190" y="1020"/>
                      <a:pt x="191" y="1023"/>
                    </a:cubicBezTo>
                    <a:cubicBezTo>
                      <a:pt x="132" y="1023"/>
                      <a:pt x="132" y="1023"/>
                      <a:pt x="132" y="1023"/>
                    </a:cubicBezTo>
                    <a:cubicBezTo>
                      <a:pt x="122" y="1023"/>
                      <a:pt x="115" y="1030"/>
                      <a:pt x="115" y="1040"/>
                    </a:cubicBezTo>
                    <a:cubicBezTo>
                      <a:pt x="115" y="1083"/>
                      <a:pt x="115" y="1083"/>
                      <a:pt x="115" y="1083"/>
                    </a:cubicBezTo>
                    <a:cubicBezTo>
                      <a:pt x="115" y="1093"/>
                      <a:pt x="122" y="1100"/>
                      <a:pt x="132" y="1100"/>
                    </a:cubicBezTo>
                    <a:cubicBezTo>
                      <a:pt x="648" y="1100"/>
                      <a:pt x="648" y="1100"/>
                      <a:pt x="648" y="1100"/>
                    </a:cubicBezTo>
                    <a:cubicBezTo>
                      <a:pt x="657" y="1100"/>
                      <a:pt x="664" y="1093"/>
                      <a:pt x="664" y="1083"/>
                    </a:cubicBezTo>
                    <a:cubicBezTo>
                      <a:pt x="664" y="1040"/>
                      <a:pt x="664" y="1040"/>
                      <a:pt x="664" y="1040"/>
                    </a:cubicBezTo>
                    <a:cubicBezTo>
                      <a:pt x="664" y="1030"/>
                      <a:pt x="657" y="1023"/>
                      <a:pt x="648" y="1023"/>
                    </a:cubicBezTo>
                    <a:cubicBezTo>
                      <a:pt x="622" y="1023"/>
                      <a:pt x="622" y="1023"/>
                      <a:pt x="622" y="1023"/>
                    </a:cubicBezTo>
                    <a:cubicBezTo>
                      <a:pt x="622" y="1020"/>
                      <a:pt x="622" y="1017"/>
                      <a:pt x="622" y="1013"/>
                    </a:cubicBezTo>
                    <a:cubicBezTo>
                      <a:pt x="622" y="873"/>
                      <a:pt x="622" y="873"/>
                      <a:pt x="622" y="873"/>
                    </a:cubicBezTo>
                    <a:cubicBezTo>
                      <a:pt x="622" y="827"/>
                      <a:pt x="585" y="790"/>
                      <a:pt x="539" y="790"/>
                    </a:cubicBezTo>
                    <a:cubicBezTo>
                      <a:pt x="493" y="790"/>
                      <a:pt x="456" y="827"/>
                      <a:pt x="456" y="873"/>
                    </a:cubicBezTo>
                    <a:cubicBezTo>
                      <a:pt x="456" y="1013"/>
                      <a:pt x="456" y="1013"/>
                      <a:pt x="456" y="1013"/>
                    </a:cubicBezTo>
                    <a:cubicBezTo>
                      <a:pt x="456" y="1017"/>
                      <a:pt x="456" y="1020"/>
                      <a:pt x="457" y="1023"/>
                    </a:cubicBezTo>
                    <a:cubicBezTo>
                      <a:pt x="355" y="1023"/>
                      <a:pt x="355" y="1023"/>
                      <a:pt x="355" y="1023"/>
                    </a:cubicBezTo>
                    <a:cubicBezTo>
                      <a:pt x="356" y="1020"/>
                      <a:pt x="356" y="1017"/>
                      <a:pt x="356" y="1014"/>
                    </a:cubicBezTo>
                    <a:cubicBezTo>
                      <a:pt x="357" y="895"/>
                      <a:pt x="357" y="895"/>
                      <a:pt x="357" y="895"/>
                    </a:cubicBezTo>
                    <a:cubicBezTo>
                      <a:pt x="357" y="880"/>
                      <a:pt x="353" y="867"/>
                      <a:pt x="346" y="855"/>
                    </a:cubicBezTo>
                    <a:cubicBezTo>
                      <a:pt x="161" y="885"/>
                      <a:pt x="161" y="885"/>
                      <a:pt x="161" y="885"/>
                    </a:cubicBezTo>
                    <a:cubicBezTo>
                      <a:pt x="348" y="826"/>
                      <a:pt x="348" y="826"/>
                      <a:pt x="348" y="826"/>
                    </a:cubicBezTo>
                    <a:cubicBezTo>
                      <a:pt x="495" y="772"/>
                      <a:pt x="652" y="714"/>
                      <a:pt x="652" y="714"/>
                    </a:cubicBezTo>
                    <a:close/>
                    <a:moveTo>
                      <a:pt x="122" y="500"/>
                    </a:moveTo>
                    <a:cubicBezTo>
                      <a:pt x="642" y="310"/>
                      <a:pt x="642" y="310"/>
                      <a:pt x="642" y="310"/>
                    </a:cubicBezTo>
                    <a:cubicBezTo>
                      <a:pt x="675" y="298"/>
                      <a:pt x="696" y="267"/>
                      <a:pt x="696" y="232"/>
                    </a:cubicBezTo>
                    <a:cubicBezTo>
                      <a:pt x="696" y="229"/>
                      <a:pt x="696" y="226"/>
                      <a:pt x="695" y="223"/>
                    </a:cubicBezTo>
                    <a:cubicBezTo>
                      <a:pt x="691" y="185"/>
                      <a:pt x="662" y="155"/>
                      <a:pt x="624" y="149"/>
                    </a:cubicBezTo>
                    <a:cubicBezTo>
                      <a:pt x="624" y="149"/>
                      <a:pt x="551" y="139"/>
                      <a:pt x="499" y="132"/>
                    </a:cubicBezTo>
                    <a:cubicBezTo>
                      <a:pt x="505" y="120"/>
                      <a:pt x="509" y="107"/>
                      <a:pt x="509" y="93"/>
                    </a:cubicBezTo>
                    <a:cubicBezTo>
                      <a:pt x="509" y="84"/>
                      <a:pt x="508" y="75"/>
                      <a:pt x="504" y="66"/>
                    </a:cubicBezTo>
                    <a:cubicBezTo>
                      <a:pt x="489" y="22"/>
                      <a:pt x="441" y="0"/>
                      <a:pt x="398" y="15"/>
                    </a:cubicBezTo>
                    <a:cubicBezTo>
                      <a:pt x="166" y="96"/>
                      <a:pt x="166" y="96"/>
                      <a:pt x="166" y="96"/>
                    </a:cubicBezTo>
                    <a:cubicBezTo>
                      <a:pt x="132" y="109"/>
                      <a:pt x="110" y="140"/>
                      <a:pt x="110" y="175"/>
                    </a:cubicBezTo>
                    <a:cubicBezTo>
                      <a:pt x="110" y="178"/>
                      <a:pt x="110" y="181"/>
                      <a:pt x="111" y="184"/>
                    </a:cubicBezTo>
                    <a:cubicBezTo>
                      <a:pt x="115" y="222"/>
                      <a:pt x="145" y="253"/>
                      <a:pt x="182" y="257"/>
                    </a:cubicBezTo>
                    <a:cubicBezTo>
                      <a:pt x="182" y="257"/>
                      <a:pt x="215" y="262"/>
                      <a:pt x="243" y="266"/>
                    </a:cubicBezTo>
                    <a:cubicBezTo>
                      <a:pt x="439" y="213"/>
                      <a:pt x="439" y="213"/>
                      <a:pt x="439" y="213"/>
                    </a:cubicBezTo>
                    <a:cubicBezTo>
                      <a:pt x="225" y="285"/>
                      <a:pt x="225" y="285"/>
                      <a:pt x="225" y="285"/>
                    </a:cubicBezTo>
                    <a:cubicBezTo>
                      <a:pt x="142" y="315"/>
                      <a:pt x="65" y="343"/>
                      <a:pt x="65" y="343"/>
                    </a:cubicBezTo>
                    <a:cubicBezTo>
                      <a:pt x="31" y="356"/>
                      <a:pt x="11" y="388"/>
                      <a:pt x="11" y="422"/>
                    </a:cubicBezTo>
                    <a:cubicBezTo>
                      <a:pt x="11" y="431"/>
                      <a:pt x="12" y="441"/>
                      <a:pt x="15" y="451"/>
                    </a:cubicBezTo>
                    <a:cubicBezTo>
                      <a:pt x="31" y="494"/>
                      <a:pt x="79" y="516"/>
                      <a:pt x="122" y="5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  <p:sp>
            <p:nvSpPr>
              <p:cNvPr id="127" name="Freeform 126"/>
              <p:cNvSpPr>
                <a:spLocks/>
              </p:cNvSpPr>
              <p:nvPr/>
            </p:nvSpPr>
            <p:spPr bwMode="black">
              <a:xfrm>
                <a:off x="3657600" y="4476750"/>
                <a:ext cx="2057400" cy="460375"/>
              </a:xfrm>
              <a:custGeom>
                <a:avLst/>
                <a:gdLst>
                  <a:gd name="T0" fmla="*/ 549 w 549"/>
                  <a:gd name="T1" fmla="*/ 10 h 123"/>
                  <a:gd name="T2" fmla="*/ 535 w 549"/>
                  <a:gd name="T3" fmla="*/ 0 h 123"/>
                  <a:gd name="T4" fmla="*/ 17 w 549"/>
                  <a:gd name="T5" fmla="*/ 0 h 123"/>
                  <a:gd name="T6" fmla="*/ 0 w 549"/>
                  <a:gd name="T7" fmla="*/ 17 h 123"/>
                  <a:gd name="T8" fmla="*/ 0 w 549"/>
                  <a:gd name="T9" fmla="*/ 106 h 123"/>
                  <a:gd name="T10" fmla="*/ 17 w 549"/>
                  <a:gd name="T11" fmla="*/ 123 h 123"/>
                  <a:gd name="T12" fmla="*/ 535 w 549"/>
                  <a:gd name="T13" fmla="*/ 123 h 123"/>
                  <a:gd name="T14" fmla="*/ 549 w 549"/>
                  <a:gd name="T15" fmla="*/ 113 h 123"/>
                  <a:gd name="T16" fmla="*/ 549 w 549"/>
                  <a:gd name="T17" fmla="*/ 1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9" h="123">
                    <a:moveTo>
                      <a:pt x="549" y="10"/>
                    </a:moveTo>
                    <a:cubicBezTo>
                      <a:pt x="547" y="4"/>
                      <a:pt x="541" y="0"/>
                      <a:pt x="53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15"/>
                      <a:pt x="8" y="123"/>
                      <a:pt x="17" y="123"/>
                    </a:cubicBezTo>
                    <a:cubicBezTo>
                      <a:pt x="535" y="123"/>
                      <a:pt x="535" y="123"/>
                      <a:pt x="535" y="123"/>
                    </a:cubicBezTo>
                    <a:cubicBezTo>
                      <a:pt x="541" y="123"/>
                      <a:pt x="547" y="118"/>
                      <a:pt x="549" y="113"/>
                    </a:cubicBezTo>
                    <a:cubicBezTo>
                      <a:pt x="549" y="10"/>
                      <a:pt x="549" y="10"/>
                      <a:pt x="54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dirty="0"/>
              </a:p>
            </p:txBody>
          </p:sp>
        </p:grpSp>
        <p:sp>
          <p:nvSpPr>
            <p:cNvPr id="116" name="Rounded Rectangle 115"/>
            <p:cNvSpPr/>
            <p:nvPr/>
          </p:nvSpPr>
          <p:spPr>
            <a:xfrm>
              <a:off x="8131864" y="3019296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17" name="Rounded Rectangle 116"/>
            <p:cNvSpPr/>
            <p:nvPr/>
          </p:nvSpPr>
          <p:spPr>
            <a:xfrm rot="1860000">
              <a:off x="8339900" y="307882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18" name="Rounded Rectangle 117"/>
            <p:cNvSpPr/>
            <p:nvPr/>
          </p:nvSpPr>
          <p:spPr>
            <a:xfrm rot="-1920000">
              <a:off x="7923828" y="307882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19" name="Rounded Rectangle 118"/>
            <p:cNvSpPr/>
            <p:nvPr/>
          </p:nvSpPr>
          <p:spPr>
            <a:xfrm rot="3420000">
              <a:off x="8489616" y="3256734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0" name="Rounded Rectangle 119"/>
            <p:cNvSpPr/>
            <p:nvPr/>
          </p:nvSpPr>
          <p:spPr>
            <a:xfrm rot="18180000" flipV="1">
              <a:off x="7776757" y="3256734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1" name="Rounded Rectangle 120"/>
            <p:cNvSpPr/>
            <p:nvPr/>
          </p:nvSpPr>
          <p:spPr>
            <a:xfrm rot="5400000">
              <a:off x="8518189" y="345464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2" name="Rounded Rectangle 121"/>
            <p:cNvSpPr/>
            <p:nvPr/>
          </p:nvSpPr>
          <p:spPr>
            <a:xfrm rot="5400000">
              <a:off x="7748005" y="3454641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3" name="Rounded Rectangle 122"/>
            <p:cNvSpPr/>
            <p:nvPr/>
          </p:nvSpPr>
          <p:spPr>
            <a:xfrm rot="6660000">
              <a:off x="8472950" y="3592108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  <p:sp>
          <p:nvSpPr>
            <p:cNvPr id="124" name="Rounded Rectangle 123"/>
            <p:cNvSpPr/>
            <p:nvPr/>
          </p:nvSpPr>
          <p:spPr>
            <a:xfrm rot="14940000" flipH="1">
              <a:off x="7801157" y="3592107"/>
              <a:ext cx="18288" cy="13716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400" dirty="0"/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5659156" y="1753619"/>
            <a:ext cx="702094" cy="699141"/>
            <a:chOff x="5625802" y="1520244"/>
            <a:chExt cx="702094" cy="721105"/>
          </a:xfrm>
        </p:grpSpPr>
        <p:sp>
          <p:nvSpPr>
            <p:cNvPr id="105" name="Freeform 104"/>
            <p:cNvSpPr>
              <a:spLocks noEditPoints="1"/>
            </p:cNvSpPr>
            <p:nvPr/>
          </p:nvSpPr>
          <p:spPr bwMode="auto">
            <a:xfrm>
              <a:off x="5625802" y="1520244"/>
              <a:ext cx="702094" cy="721105"/>
            </a:xfrm>
            <a:custGeom>
              <a:avLst/>
              <a:gdLst>
                <a:gd name="T0" fmla="*/ 131 w 744"/>
                <a:gd name="T1" fmla="*/ 705 h 1020"/>
                <a:gd name="T2" fmla="*/ 246 w 744"/>
                <a:gd name="T3" fmla="*/ 694 h 1020"/>
                <a:gd name="T4" fmla="*/ 131 w 744"/>
                <a:gd name="T5" fmla="*/ 652 h 1020"/>
                <a:gd name="T6" fmla="*/ 361 w 744"/>
                <a:gd name="T7" fmla="*/ 663 h 1020"/>
                <a:gd name="T8" fmla="*/ 131 w 744"/>
                <a:gd name="T9" fmla="*/ 652 h 1020"/>
                <a:gd name="T10" fmla="*/ 131 w 744"/>
                <a:gd name="T11" fmla="*/ 621 h 1020"/>
                <a:gd name="T12" fmla="*/ 246 w 744"/>
                <a:gd name="T13" fmla="*/ 610 h 1020"/>
                <a:gd name="T14" fmla="*/ 131 w 744"/>
                <a:gd name="T15" fmla="*/ 567 h 1020"/>
                <a:gd name="T16" fmla="*/ 496 w 744"/>
                <a:gd name="T17" fmla="*/ 579 h 1020"/>
                <a:gd name="T18" fmla="*/ 131 w 744"/>
                <a:gd name="T19" fmla="*/ 567 h 1020"/>
                <a:gd name="T20" fmla="*/ 131 w 744"/>
                <a:gd name="T21" fmla="*/ 537 h 1020"/>
                <a:gd name="T22" fmla="*/ 496 w 744"/>
                <a:gd name="T23" fmla="*/ 525 h 1020"/>
                <a:gd name="T24" fmla="*/ 131 w 744"/>
                <a:gd name="T25" fmla="*/ 481 h 1020"/>
                <a:gd name="T26" fmla="*/ 496 w 744"/>
                <a:gd name="T27" fmla="*/ 493 h 1020"/>
                <a:gd name="T28" fmla="*/ 131 w 744"/>
                <a:gd name="T29" fmla="*/ 481 h 1020"/>
                <a:gd name="T30" fmla="*/ 131 w 744"/>
                <a:gd name="T31" fmla="*/ 450 h 1020"/>
                <a:gd name="T32" fmla="*/ 496 w 744"/>
                <a:gd name="T33" fmla="*/ 439 h 1020"/>
                <a:gd name="T34" fmla="*/ 131 w 744"/>
                <a:gd name="T35" fmla="*/ 397 h 1020"/>
                <a:gd name="T36" fmla="*/ 496 w 744"/>
                <a:gd name="T37" fmla="*/ 408 h 1020"/>
                <a:gd name="T38" fmla="*/ 131 w 744"/>
                <a:gd name="T39" fmla="*/ 397 h 1020"/>
                <a:gd name="T40" fmla="*/ 131 w 744"/>
                <a:gd name="T41" fmla="*/ 366 h 1020"/>
                <a:gd name="T42" fmla="*/ 496 w 744"/>
                <a:gd name="T43" fmla="*/ 355 h 1020"/>
                <a:gd name="T44" fmla="*/ 131 w 744"/>
                <a:gd name="T45" fmla="*/ 310 h 1020"/>
                <a:gd name="T46" fmla="*/ 496 w 744"/>
                <a:gd name="T47" fmla="*/ 322 h 1020"/>
                <a:gd name="T48" fmla="*/ 131 w 744"/>
                <a:gd name="T49" fmla="*/ 310 h 1020"/>
                <a:gd name="T50" fmla="*/ 131 w 744"/>
                <a:gd name="T51" fmla="*/ 280 h 1020"/>
                <a:gd name="T52" fmla="*/ 496 w 744"/>
                <a:gd name="T53" fmla="*/ 268 h 1020"/>
                <a:gd name="T54" fmla="*/ 550 w 744"/>
                <a:gd name="T55" fmla="*/ 261 h 1020"/>
                <a:gd name="T56" fmla="*/ 663 w 744"/>
                <a:gd name="T57" fmla="*/ 757 h 1020"/>
                <a:gd name="T58" fmla="*/ 550 w 744"/>
                <a:gd name="T59" fmla="*/ 261 h 1020"/>
                <a:gd name="T60" fmla="*/ 744 w 744"/>
                <a:gd name="T61" fmla="*/ 0 h 1020"/>
                <a:gd name="T62" fmla="*/ 0 w 744"/>
                <a:gd name="T63" fmla="*/ 1020 h 1020"/>
                <a:gd name="T64" fmla="*/ 171 w 744"/>
                <a:gd name="T65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4" h="1020">
                  <a:moveTo>
                    <a:pt x="131" y="694"/>
                  </a:moveTo>
                  <a:lnTo>
                    <a:pt x="131" y="705"/>
                  </a:lnTo>
                  <a:lnTo>
                    <a:pt x="246" y="705"/>
                  </a:lnTo>
                  <a:lnTo>
                    <a:pt x="246" y="694"/>
                  </a:lnTo>
                  <a:lnTo>
                    <a:pt x="131" y="694"/>
                  </a:lnTo>
                  <a:close/>
                  <a:moveTo>
                    <a:pt x="131" y="652"/>
                  </a:moveTo>
                  <a:lnTo>
                    <a:pt x="131" y="663"/>
                  </a:lnTo>
                  <a:lnTo>
                    <a:pt x="361" y="663"/>
                  </a:lnTo>
                  <a:lnTo>
                    <a:pt x="361" y="652"/>
                  </a:lnTo>
                  <a:lnTo>
                    <a:pt x="131" y="652"/>
                  </a:lnTo>
                  <a:close/>
                  <a:moveTo>
                    <a:pt x="131" y="610"/>
                  </a:moveTo>
                  <a:lnTo>
                    <a:pt x="131" y="621"/>
                  </a:lnTo>
                  <a:lnTo>
                    <a:pt x="246" y="621"/>
                  </a:lnTo>
                  <a:lnTo>
                    <a:pt x="246" y="610"/>
                  </a:lnTo>
                  <a:lnTo>
                    <a:pt x="131" y="610"/>
                  </a:lnTo>
                  <a:close/>
                  <a:moveTo>
                    <a:pt x="131" y="567"/>
                  </a:moveTo>
                  <a:lnTo>
                    <a:pt x="131" y="579"/>
                  </a:lnTo>
                  <a:lnTo>
                    <a:pt x="496" y="579"/>
                  </a:lnTo>
                  <a:lnTo>
                    <a:pt x="496" y="567"/>
                  </a:lnTo>
                  <a:lnTo>
                    <a:pt x="131" y="567"/>
                  </a:lnTo>
                  <a:close/>
                  <a:moveTo>
                    <a:pt x="131" y="525"/>
                  </a:moveTo>
                  <a:lnTo>
                    <a:pt x="131" y="537"/>
                  </a:lnTo>
                  <a:lnTo>
                    <a:pt x="496" y="537"/>
                  </a:lnTo>
                  <a:lnTo>
                    <a:pt x="496" y="525"/>
                  </a:lnTo>
                  <a:lnTo>
                    <a:pt x="131" y="525"/>
                  </a:lnTo>
                  <a:close/>
                  <a:moveTo>
                    <a:pt x="131" y="481"/>
                  </a:moveTo>
                  <a:lnTo>
                    <a:pt x="131" y="493"/>
                  </a:lnTo>
                  <a:lnTo>
                    <a:pt x="496" y="493"/>
                  </a:lnTo>
                  <a:lnTo>
                    <a:pt x="496" y="481"/>
                  </a:lnTo>
                  <a:lnTo>
                    <a:pt x="131" y="481"/>
                  </a:lnTo>
                  <a:close/>
                  <a:moveTo>
                    <a:pt x="131" y="439"/>
                  </a:moveTo>
                  <a:lnTo>
                    <a:pt x="131" y="450"/>
                  </a:lnTo>
                  <a:lnTo>
                    <a:pt x="496" y="450"/>
                  </a:lnTo>
                  <a:lnTo>
                    <a:pt x="496" y="439"/>
                  </a:lnTo>
                  <a:lnTo>
                    <a:pt x="131" y="439"/>
                  </a:lnTo>
                  <a:close/>
                  <a:moveTo>
                    <a:pt x="131" y="397"/>
                  </a:moveTo>
                  <a:lnTo>
                    <a:pt x="131" y="408"/>
                  </a:lnTo>
                  <a:lnTo>
                    <a:pt x="496" y="408"/>
                  </a:lnTo>
                  <a:lnTo>
                    <a:pt x="496" y="397"/>
                  </a:lnTo>
                  <a:lnTo>
                    <a:pt x="131" y="397"/>
                  </a:lnTo>
                  <a:close/>
                  <a:moveTo>
                    <a:pt x="131" y="355"/>
                  </a:moveTo>
                  <a:lnTo>
                    <a:pt x="131" y="366"/>
                  </a:lnTo>
                  <a:lnTo>
                    <a:pt x="496" y="366"/>
                  </a:lnTo>
                  <a:lnTo>
                    <a:pt x="496" y="355"/>
                  </a:lnTo>
                  <a:lnTo>
                    <a:pt x="131" y="355"/>
                  </a:lnTo>
                  <a:close/>
                  <a:moveTo>
                    <a:pt x="131" y="310"/>
                  </a:moveTo>
                  <a:lnTo>
                    <a:pt x="131" y="322"/>
                  </a:lnTo>
                  <a:lnTo>
                    <a:pt x="496" y="322"/>
                  </a:lnTo>
                  <a:lnTo>
                    <a:pt x="496" y="310"/>
                  </a:lnTo>
                  <a:lnTo>
                    <a:pt x="131" y="310"/>
                  </a:lnTo>
                  <a:close/>
                  <a:moveTo>
                    <a:pt x="131" y="268"/>
                  </a:moveTo>
                  <a:lnTo>
                    <a:pt x="131" y="280"/>
                  </a:lnTo>
                  <a:lnTo>
                    <a:pt x="496" y="280"/>
                  </a:lnTo>
                  <a:lnTo>
                    <a:pt x="496" y="268"/>
                  </a:lnTo>
                  <a:lnTo>
                    <a:pt x="131" y="268"/>
                  </a:lnTo>
                  <a:close/>
                  <a:moveTo>
                    <a:pt x="550" y="261"/>
                  </a:moveTo>
                  <a:lnTo>
                    <a:pt x="550" y="757"/>
                  </a:lnTo>
                  <a:lnTo>
                    <a:pt x="663" y="757"/>
                  </a:lnTo>
                  <a:lnTo>
                    <a:pt x="663" y="261"/>
                  </a:lnTo>
                  <a:lnTo>
                    <a:pt x="550" y="261"/>
                  </a:lnTo>
                  <a:close/>
                  <a:moveTo>
                    <a:pt x="171" y="0"/>
                  </a:moveTo>
                  <a:lnTo>
                    <a:pt x="744" y="0"/>
                  </a:lnTo>
                  <a:lnTo>
                    <a:pt x="744" y="1020"/>
                  </a:lnTo>
                  <a:lnTo>
                    <a:pt x="0" y="1020"/>
                  </a:lnTo>
                  <a:lnTo>
                    <a:pt x="0" y="153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06" name="Isosceles Triangle 105"/>
            <p:cNvSpPr/>
            <p:nvPr/>
          </p:nvSpPr>
          <p:spPr>
            <a:xfrm rot="8818592">
              <a:off x="5635620" y="1565123"/>
              <a:ext cx="195752" cy="94063"/>
            </a:xfrm>
            <a:prstGeom prst="triangle">
              <a:avLst>
                <a:gd name="adj" fmla="val 51741"/>
              </a:avLst>
            </a:prstGeom>
            <a:solidFill>
              <a:schemeClr val="tx1">
                <a:lumMod val="75000"/>
                <a:lumOff val="25000"/>
              </a:schemeClr>
            </a:solidFill>
          </p:spPr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50" name="TextBox 249"/>
          <p:cNvSpPr txBox="1"/>
          <p:nvPr/>
        </p:nvSpPr>
        <p:spPr>
          <a:xfrm>
            <a:off x="9451044" y="2501544"/>
            <a:ext cx="202544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Backend logging system keeping track of interactions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4581761" y="5621926"/>
            <a:ext cx="285688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pport Content, Document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ment Systems, Rules Engine, Expert System, Q&amp;A</a:t>
            </a:r>
          </a:p>
        </p:txBody>
      </p:sp>
      <p:cxnSp>
        <p:nvCxnSpPr>
          <p:cNvPr id="145" name="Straight Arrow Connector 144"/>
          <p:cNvCxnSpPr/>
          <p:nvPr/>
        </p:nvCxnSpPr>
        <p:spPr>
          <a:xfrm flipH="1" flipV="1">
            <a:off x="6013712" y="3514085"/>
            <a:ext cx="0" cy="1140207"/>
          </a:xfrm>
          <a:prstGeom prst="straightConnector1">
            <a:avLst/>
          </a:prstGeom>
          <a:ln w="15875">
            <a:solidFill>
              <a:schemeClr val="bg1">
                <a:lumMod val="6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/>
          <p:cNvSpPr txBox="1"/>
          <p:nvPr/>
        </p:nvSpPr>
        <p:spPr>
          <a:xfrm>
            <a:off x="8239424" y="4821461"/>
            <a:ext cx="20602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“Curated”, periodic adjustments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928736" y="3778508"/>
            <a:ext cx="2162934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tructured Knowledge Enhancements 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2512805" y="3361911"/>
            <a:ext cx="1894184" cy="1342090"/>
          </a:xfrm>
          <a:prstGeom prst="straightConnector1">
            <a:avLst/>
          </a:prstGeom>
          <a:ln w="15875">
            <a:solidFill>
              <a:schemeClr val="bg1">
                <a:lumMod val="65000"/>
              </a:schemeClr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1148357" y="5621926"/>
            <a:ext cx="14358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nowledgebase</a:t>
            </a:r>
            <a:endParaRPr lang="en-US" sz="1400" dirty="0"/>
          </a:p>
        </p:txBody>
      </p:sp>
      <p:sp>
        <p:nvSpPr>
          <p:cNvPr id="21" name="AutoShape 111" descr="Image result for document"/>
          <p:cNvSpPr>
            <a:spLocks noChangeAspect="1" noChangeArrowheads="1"/>
          </p:cNvSpPr>
          <p:nvPr/>
        </p:nvSpPr>
        <p:spPr bwMode="auto">
          <a:xfrm>
            <a:off x="5943600" y="3214153"/>
            <a:ext cx="304800" cy="295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22" name="TextBox 21"/>
          <p:cNvSpPr txBox="1"/>
          <p:nvPr/>
        </p:nvSpPr>
        <p:spPr>
          <a:xfrm>
            <a:off x="1326751" y="3616215"/>
            <a:ext cx="21603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uery about specific content or action thru Azure Search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1392947" y="1508155"/>
            <a:ext cx="946656" cy="898366"/>
            <a:chOff x="5326857" y="2779521"/>
            <a:chExt cx="2283619" cy="2167129"/>
          </a:xfrm>
          <a:solidFill>
            <a:srgbClr val="666666"/>
          </a:solidFill>
        </p:grpSpPr>
        <p:sp>
          <p:nvSpPr>
            <p:cNvPr id="96" name="Freeform 827"/>
            <p:cNvSpPr/>
            <p:nvPr/>
          </p:nvSpPr>
          <p:spPr>
            <a:xfrm>
              <a:off x="5326857" y="3228975"/>
              <a:ext cx="1147085" cy="1083469"/>
            </a:xfrm>
            <a:custGeom>
              <a:avLst/>
              <a:gdLst>
                <a:gd name="connsiteX0" fmla="*/ 1090612 w 1147085"/>
                <a:gd name="connsiteY0" fmla="*/ 0 h 1083469"/>
                <a:gd name="connsiteX1" fmla="*/ 1147085 w 1147085"/>
                <a:gd name="connsiteY1" fmla="*/ 460567 h 1083469"/>
                <a:gd name="connsiteX2" fmla="*/ 1078295 w 1147085"/>
                <a:gd name="connsiteY2" fmla="*/ 504743 h 1083469"/>
                <a:gd name="connsiteX3" fmla="*/ 1025237 w 1147085"/>
                <a:gd name="connsiteY3" fmla="*/ 72025 h 1083469"/>
                <a:gd name="connsiteX4" fmla="*/ 79622 w 1147085"/>
                <a:gd name="connsiteY4" fmla="*/ 171129 h 1083469"/>
                <a:gd name="connsiteX5" fmla="*/ 186985 w 1147085"/>
                <a:gd name="connsiteY5" fmla="*/ 990798 h 1083469"/>
                <a:gd name="connsiteX6" fmla="*/ 186985 w 1147085"/>
                <a:gd name="connsiteY6" fmla="*/ 1011445 h 1083469"/>
                <a:gd name="connsiteX7" fmla="*/ 977729 w 1147085"/>
                <a:gd name="connsiteY7" fmla="*/ 857154 h 1083469"/>
                <a:gd name="connsiteX8" fmla="*/ 977729 w 1147085"/>
                <a:gd name="connsiteY8" fmla="*/ 916854 h 1083469"/>
                <a:gd name="connsiteX9" fmla="*/ 123825 w 1147085"/>
                <a:gd name="connsiteY9" fmla="*/ 1083469 h 1083469"/>
                <a:gd name="connsiteX10" fmla="*/ 0 w 1147085"/>
                <a:gd name="connsiteY10" fmla="*/ 114300 h 1083469"/>
                <a:gd name="connsiteX11" fmla="*/ 1090612 w 1147085"/>
                <a:gd name="connsiteY11" fmla="*/ 0 h 1083469"/>
                <a:gd name="connsiteX0" fmla="*/ 1090612 w 1147085"/>
                <a:gd name="connsiteY0" fmla="*/ 0 h 1083469"/>
                <a:gd name="connsiteX1" fmla="*/ 1147085 w 1147085"/>
                <a:gd name="connsiteY1" fmla="*/ 460567 h 1083469"/>
                <a:gd name="connsiteX2" fmla="*/ 1078295 w 1147085"/>
                <a:gd name="connsiteY2" fmla="*/ 504743 h 1083469"/>
                <a:gd name="connsiteX3" fmla="*/ 1025237 w 1147085"/>
                <a:gd name="connsiteY3" fmla="*/ 72025 h 1083469"/>
                <a:gd name="connsiteX4" fmla="*/ 79622 w 1147085"/>
                <a:gd name="connsiteY4" fmla="*/ 171129 h 1083469"/>
                <a:gd name="connsiteX5" fmla="*/ 186985 w 1147085"/>
                <a:gd name="connsiteY5" fmla="*/ 1011445 h 1083469"/>
                <a:gd name="connsiteX6" fmla="*/ 977729 w 1147085"/>
                <a:gd name="connsiteY6" fmla="*/ 857154 h 1083469"/>
                <a:gd name="connsiteX7" fmla="*/ 977729 w 1147085"/>
                <a:gd name="connsiteY7" fmla="*/ 916854 h 1083469"/>
                <a:gd name="connsiteX8" fmla="*/ 123825 w 1147085"/>
                <a:gd name="connsiteY8" fmla="*/ 1083469 h 1083469"/>
                <a:gd name="connsiteX9" fmla="*/ 0 w 1147085"/>
                <a:gd name="connsiteY9" fmla="*/ 114300 h 1083469"/>
                <a:gd name="connsiteX10" fmla="*/ 1090612 w 1147085"/>
                <a:gd name="connsiteY10" fmla="*/ 0 h 1083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7085" h="1083469">
                  <a:moveTo>
                    <a:pt x="1090612" y="0"/>
                  </a:moveTo>
                  <a:lnTo>
                    <a:pt x="1147085" y="460567"/>
                  </a:lnTo>
                  <a:cubicBezTo>
                    <a:pt x="1121629" y="471368"/>
                    <a:pt x="1098257" y="486098"/>
                    <a:pt x="1078295" y="504743"/>
                  </a:cubicBezTo>
                  <a:lnTo>
                    <a:pt x="1025237" y="72025"/>
                  </a:lnTo>
                  <a:lnTo>
                    <a:pt x="79622" y="171129"/>
                  </a:lnTo>
                  <a:lnTo>
                    <a:pt x="186985" y="1011445"/>
                  </a:lnTo>
                  <a:lnTo>
                    <a:pt x="977729" y="857154"/>
                  </a:lnTo>
                  <a:lnTo>
                    <a:pt x="977729" y="916854"/>
                  </a:lnTo>
                  <a:lnTo>
                    <a:pt x="123825" y="1083469"/>
                  </a:lnTo>
                  <a:lnTo>
                    <a:pt x="0" y="114300"/>
                  </a:lnTo>
                  <a:lnTo>
                    <a:pt x="1090612" y="0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7" name="Oval 23"/>
            <p:cNvSpPr/>
            <p:nvPr/>
          </p:nvSpPr>
          <p:spPr bwMode="auto">
            <a:xfrm>
              <a:off x="5472973" y="4217016"/>
              <a:ext cx="831613" cy="515322"/>
            </a:xfrm>
            <a:custGeom>
              <a:avLst/>
              <a:gdLst/>
              <a:ahLst/>
              <a:cxnLst/>
              <a:rect l="l" t="t" r="r" b="b"/>
              <a:pathLst>
                <a:path w="831613" h="515322">
                  <a:moveTo>
                    <a:pt x="656506" y="0"/>
                  </a:moveTo>
                  <a:cubicBezTo>
                    <a:pt x="722980" y="12459"/>
                    <a:pt x="782484" y="33487"/>
                    <a:pt x="831613" y="60220"/>
                  </a:cubicBezTo>
                  <a:lnTo>
                    <a:pt x="831613" y="156807"/>
                  </a:lnTo>
                  <a:lnTo>
                    <a:pt x="790343" y="156807"/>
                  </a:lnTo>
                  <a:cubicBezTo>
                    <a:pt x="689578" y="156807"/>
                    <a:pt x="607892" y="247187"/>
                    <a:pt x="607892" y="358678"/>
                  </a:cubicBezTo>
                  <a:cubicBezTo>
                    <a:pt x="607892" y="412735"/>
                    <a:pt x="627095" y="461830"/>
                    <a:pt x="658968" y="497546"/>
                  </a:cubicBezTo>
                  <a:cubicBezTo>
                    <a:pt x="605816" y="509342"/>
                    <a:pt x="548050" y="515322"/>
                    <a:pt x="487726" y="515322"/>
                  </a:cubicBezTo>
                  <a:cubicBezTo>
                    <a:pt x="218362" y="515322"/>
                    <a:pt x="0" y="396081"/>
                    <a:pt x="0" y="248990"/>
                  </a:cubicBezTo>
                  <a:cubicBezTo>
                    <a:pt x="0" y="198934"/>
                    <a:pt x="25288" y="152104"/>
                    <a:pt x="70263" y="113194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8" name="Rounded Rectangle 13"/>
            <p:cNvSpPr/>
            <p:nvPr/>
          </p:nvSpPr>
          <p:spPr bwMode="auto">
            <a:xfrm>
              <a:off x="6127748" y="3705225"/>
              <a:ext cx="1375518" cy="1241425"/>
            </a:xfrm>
            <a:custGeom>
              <a:avLst/>
              <a:gdLst/>
              <a:ahLst/>
              <a:cxnLst/>
              <a:rect l="l" t="t" r="r" b="b"/>
              <a:pathLst>
                <a:path w="1375518" h="1241425">
                  <a:moveTo>
                    <a:pt x="880211" y="0"/>
                  </a:moveTo>
                  <a:lnTo>
                    <a:pt x="1125002" y="0"/>
                  </a:lnTo>
                  <a:cubicBezTo>
                    <a:pt x="1202113" y="0"/>
                    <a:pt x="1271265" y="34077"/>
                    <a:pt x="1317403" y="88704"/>
                  </a:cubicBezTo>
                  <a:cubicBezTo>
                    <a:pt x="1244331" y="103169"/>
                    <a:pt x="1190628" y="168346"/>
                    <a:pt x="1190628" y="246066"/>
                  </a:cubicBezTo>
                  <a:lnTo>
                    <a:pt x="1190628" y="708029"/>
                  </a:lnTo>
                  <a:lnTo>
                    <a:pt x="929175" y="708029"/>
                  </a:lnTo>
                  <a:lnTo>
                    <a:pt x="803618" y="172438"/>
                  </a:lnTo>
                  <a:close/>
                  <a:moveTo>
                    <a:pt x="481554" y="0"/>
                  </a:moveTo>
                  <a:lnTo>
                    <a:pt x="726347" y="0"/>
                  </a:lnTo>
                  <a:lnTo>
                    <a:pt x="802940" y="172436"/>
                  </a:lnTo>
                  <a:lnTo>
                    <a:pt x="674361" y="720915"/>
                  </a:lnTo>
                  <a:cubicBezTo>
                    <a:pt x="614856" y="745801"/>
                    <a:pt x="573090" y="804586"/>
                    <a:pt x="573090" y="873128"/>
                  </a:cubicBezTo>
                  <a:cubicBezTo>
                    <a:pt x="573090" y="964310"/>
                    <a:pt x="647007" y="1038227"/>
                    <a:pt x="738189" y="1038227"/>
                  </a:cubicBezTo>
                  <a:lnTo>
                    <a:pt x="1375518" y="1038227"/>
                  </a:lnTo>
                  <a:cubicBezTo>
                    <a:pt x="1351252" y="1154299"/>
                    <a:pt x="1248302" y="1241425"/>
                    <a:pt x="1125002" y="1241425"/>
                  </a:cubicBezTo>
                  <a:lnTo>
                    <a:pt x="481554" y="1241425"/>
                  </a:lnTo>
                  <a:cubicBezTo>
                    <a:pt x="358254" y="1241425"/>
                    <a:pt x="255302" y="1154298"/>
                    <a:pt x="231037" y="1038224"/>
                  </a:cubicBezTo>
                  <a:lnTo>
                    <a:pt x="165099" y="1038224"/>
                  </a:lnTo>
                  <a:cubicBezTo>
                    <a:pt x="73917" y="1038224"/>
                    <a:pt x="0" y="964307"/>
                    <a:pt x="0" y="873125"/>
                  </a:cubicBezTo>
                  <a:cubicBezTo>
                    <a:pt x="0" y="781943"/>
                    <a:pt x="73917" y="708026"/>
                    <a:pt x="165099" y="708026"/>
                  </a:cubicBezTo>
                  <a:lnTo>
                    <a:pt x="225428" y="708026"/>
                  </a:lnTo>
                  <a:lnTo>
                    <a:pt x="225428" y="256126"/>
                  </a:lnTo>
                  <a:cubicBezTo>
                    <a:pt x="225428" y="114672"/>
                    <a:pt x="340100" y="0"/>
                    <a:pt x="481554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98"/>
            <p:cNvSpPr/>
            <p:nvPr/>
          </p:nvSpPr>
          <p:spPr bwMode="auto">
            <a:xfrm>
              <a:off x="6524624" y="2779521"/>
              <a:ext cx="835025" cy="835025"/>
            </a:xfrm>
            <a:prstGeom prst="ellips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Rounded Rectangle 14"/>
            <p:cNvSpPr/>
            <p:nvPr/>
          </p:nvSpPr>
          <p:spPr bwMode="auto">
            <a:xfrm>
              <a:off x="6740522" y="3829050"/>
              <a:ext cx="869954" cy="874713"/>
            </a:xfrm>
            <a:custGeom>
              <a:avLst/>
              <a:gdLst>
                <a:gd name="connsiteX0" fmla="*/ 744540 w 869954"/>
                <a:gd name="connsiteY0" fmla="*/ 0 h 874713"/>
                <a:gd name="connsiteX1" fmla="*/ 869954 w 869954"/>
                <a:gd name="connsiteY1" fmla="*/ 125414 h 874713"/>
                <a:gd name="connsiteX2" fmla="*/ 869953 w 869954"/>
                <a:gd name="connsiteY2" fmla="*/ 706437 h 874713"/>
                <a:gd name="connsiteX3" fmla="*/ 869952 w 869954"/>
                <a:gd name="connsiteY3" fmla="*/ 749299 h 874713"/>
                <a:gd name="connsiteX4" fmla="*/ 744538 w 869954"/>
                <a:gd name="connsiteY4" fmla="*/ 874713 h 874713"/>
                <a:gd name="connsiteX5" fmla="*/ 125414 w 869954"/>
                <a:gd name="connsiteY5" fmla="*/ 874712 h 874713"/>
                <a:gd name="connsiteX6" fmla="*/ 0 w 869954"/>
                <a:gd name="connsiteY6" fmla="*/ 749298 h 874713"/>
                <a:gd name="connsiteX7" fmla="*/ 1 w 869954"/>
                <a:gd name="connsiteY7" fmla="*/ 749299 h 874713"/>
                <a:gd name="connsiteX8" fmla="*/ 125415 w 869954"/>
                <a:gd name="connsiteY8" fmla="*/ 623885 h 874713"/>
                <a:gd name="connsiteX9" fmla="*/ 619126 w 869954"/>
                <a:gd name="connsiteY9" fmla="*/ 623885 h 874713"/>
                <a:gd name="connsiteX10" fmla="*/ 619126 w 869954"/>
                <a:gd name="connsiteY10" fmla="*/ 125414 h 874713"/>
                <a:gd name="connsiteX11" fmla="*/ 744540 w 869954"/>
                <a:gd name="connsiteY11" fmla="*/ 0 h 874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9954" h="874713">
                  <a:moveTo>
                    <a:pt x="744540" y="0"/>
                  </a:moveTo>
                  <a:cubicBezTo>
                    <a:pt x="813804" y="0"/>
                    <a:pt x="869954" y="56150"/>
                    <a:pt x="869954" y="125414"/>
                  </a:cubicBezTo>
                  <a:cubicBezTo>
                    <a:pt x="869954" y="319088"/>
                    <a:pt x="869953" y="512763"/>
                    <a:pt x="869953" y="706437"/>
                  </a:cubicBezTo>
                  <a:cubicBezTo>
                    <a:pt x="869953" y="720724"/>
                    <a:pt x="869952" y="735012"/>
                    <a:pt x="869952" y="749299"/>
                  </a:cubicBezTo>
                  <a:cubicBezTo>
                    <a:pt x="869952" y="818563"/>
                    <a:pt x="813802" y="874713"/>
                    <a:pt x="744538" y="874713"/>
                  </a:cubicBezTo>
                  <a:lnTo>
                    <a:pt x="125414" y="874712"/>
                  </a:lnTo>
                  <a:cubicBezTo>
                    <a:pt x="56150" y="874712"/>
                    <a:pt x="0" y="818562"/>
                    <a:pt x="0" y="749298"/>
                  </a:cubicBezTo>
                  <a:lnTo>
                    <a:pt x="1" y="749299"/>
                  </a:lnTo>
                  <a:cubicBezTo>
                    <a:pt x="1" y="680035"/>
                    <a:pt x="56151" y="623885"/>
                    <a:pt x="125415" y="623885"/>
                  </a:cubicBezTo>
                  <a:lnTo>
                    <a:pt x="619126" y="623885"/>
                  </a:lnTo>
                  <a:lnTo>
                    <a:pt x="619126" y="125414"/>
                  </a:lnTo>
                  <a:cubicBezTo>
                    <a:pt x="619126" y="56150"/>
                    <a:pt x="675276" y="0"/>
                    <a:pt x="744540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101" name="Rounded Rectangle 307"/>
          <p:cNvSpPr/>
          <p:nvPr/>
        </p:nvSpPr>
        <p:spPr bwMode="auto">
          <a:xfrm rot="1411326">
            <a:off x="10032595" y="1649355"/>
            <a:ext cx="862342" cy="743308"/>
          </a:xfrm>
          <a:custGeom>
            <a:avLst/>
            <a:gdLst/>
            <a:ahLst/>
            <a:cxnLst/>
            <a:rect l="l" t="t" r="r" b="b"/>
            <a:pathLst>
              <a:path w="1940586" h="1672716">
                <a:moveTo>
                  <a:pt x="1594590" y="836637"/>
                </a:moveTo>
                <a:lnTo>
                  <a:pt x="1658540" y="842371"/>
                </a:lnTo>
                <a:cubicBezTo>
                  <a:pt x="1671248" y="841246"/>
                  <a:pt x="1681940" y="851407"/>
                  <a:pt x="1684860" y="864336"/>
                </a:cubicBezTo>
                <a:lnTo>
                  <a:pt x="1684580" y="874769"/>
                </a:lnTo>
                <a:cubicBezTo>
                  <a:pt x="1685154" y="874039"/>
                  <a:pt x="1685763" y="874026"/>
                  <a:pt x="1686373" y="874026"/>
                </a:cubicBezTo>
                <a:lnTo>
                  <a:pt x="1896423" y="874026"/>
                </a:lnTo>
                <a:cubicBezTo>
                  <a:pt x="1920812" y="874026"/>
                  <a:pt x="1940586" y="893799"/>
                  <a:pt x="1940586" y="918190"/>
                </a:cubicBezTo>
                <a:lnTo>
                  <a:pt x="1940586" y="1004044"/>
                </a:lnTo>
                <a:cubicBezTo>
                  <a:pt x="1940586" y="1028433"/>
                  <a:pt x="1920813" y="1048207"/>
                  <a:pt x="1896422" y="1048207"/>
                </a:cubicBezTo>
                <a:lnTo>
                  <a:pt x="1686373" y="1048207"/>
                </a:lnTo>
                <a:lnTo>
                  <a:pt x="1679981" y="1045559"/>
                </a:lnTo>
                <a:lnTo>
                  <a:pt x="1679978" y="1045644"/>
                </a:lnTo>
                <a:cubicBezTo>
                  <a:pt x="1681424" y="1061800"/>
                  <a:pt x="1666732" y="1079386"/>
                  <a:pt x="1648547" y="1076110"/>
                </a:cubicBezTo>
                <a:lnTo>
                  <a:pt x="1586646" y="1075080"/>
                </a:lnTo>
                <a:cubicBezTo>
                  <a:pt x="1599893" y="1041340"/>
                  <a:pt x="1609044" y="998191"/>
                  <a:pt x="1613501" y="957088"/>
                </a:cubicBezTo>
                <a:cubicBezTo>
                  <a:pt x="1613259" y="918031"/>
                  <a:pt x="1606273" y="876312"/>
                  <a:pt x="1594590" y="836637"/>
                </a:cubicBezTo>
                <a:close/>
                <a:moveTo>
                  <a:pt x="1214903" y="730649"/>
                </a:moveTo>
                <a:cubicBezTo>
                  <a:pt x="1097792" y="781623"/>
                  <a:pt x="1044179" y="917883"/>
                  <a:pt x="1095153" y="1034993"/>
                </a:cubicBezTo>
                <a:cubicBezTo>
                  <a:pt x="1146128" y="1152103"/>
                  <a:pt x="1282388" y="1205717"/>
                  <a:pt x="1399498" y="1154741"/>
                </a:cubicBezTo>
                <a:cubicBezTo>
                  <a:pt x="1516607" y="1103768"/>
                  <a:pt x="1570222" y="967508"/>
                  <a:pt x="1519246" y="850398"/>
                </a:cubicBezTo>
                <a:cubicBezTo>
                  <a:pt x="1468272" y="733289"/>
                  <a:pt x="1332012" y="679674"/>
                  <a:pt x="1214903" y="730649"/>
                </a:cubicBezTo>
                <a:close/>
                <a:moveTo>
                  <a:pt x="1196770" y="688992"/>
                </a:moveTo>
                <a:cubicBezTo>
                  <a:pt x="1336887" y="628003"/>
                  <a:pt x="1499915" y="692150"/>
                  <a:pt x="1560904" y="832266"/>
                </a:cubicBezTo>
                <a:cubicBezTo>
                  <a:pt x="1621893" y="972382"/>
                  <a:pt x="1557748" y="1135410"/>
                  <a:pt x="1417630" y="1196399"/>
                </a:cubicBezTo>
                <a:cubicBezTo>
                  <a:pt x="1277512" y="1257388"/>
                  <a:pt x="1114485" y="1193241"/>
                  <a:pt x="1053496" y="1053126"/>
                </a:cubicBezTo>
                <a:cubicBezTo>
                  <a:pt x="992508" y="913009"/>
                  <a:pt x="1056653" y="749982"/>
                  <a:pt x="1196770" y="688992"/>
                </a:cubicBezTo>
                <a:close/>
                <a:moveTo>
                  <a:pt x="798997" y="32361"/>
                </a:moveTo>
                <a:lnTo>
                  <a:pt x="945006" y="367805"/>
                </a:lnTo>
                <a:lnTo>
                  <a:pt x="1259331" y="230988"/>
                </a:lnTo>
                <a:close/>
                <a:moveTo>
                  <a:pt x="0" y="355210"/>
                </a:moveTo>
                <a:lnTo>
                  <a:pt x="816064" y="0"/>
                </a:lnTo>
                <a:lnTo>
                  <a:pt x="1276396" y="198625"/>
                </a:lnTo>
                <a:lnTo>
                  <a:pt x="1376483" y="428565"/>
                </a:lnTo>
                <a:lnTo>
                  <a:pt x="1502048" y="717041"/>
                </a:lnTo>
                <a:cubicBezTo>
                  <a:pt x="1418889" y="642212"/>
                  <a:pt x="1296621" y="619672"/>
                  <a:pt x="1187200" y="667302"/>
                </a:cubicBezTo>
                <a:cubicBezTo>
                  <a:pt x="1034809" y="733633"/>
                  <a:pt x="965045" y="910940"/>
                  <a:pt x="1031375" y="1063330"/>
                </a:cubicBezTo>
                <a:cubicBezTo>
                  <a:pt x="1097707" y="1215721"/>
                  <a:pt x="1275015" y="1285486"/>
                  <a:pt x="1427405" y="1219154"/>
                </a:cubicBezTo>
                <a:cubicBezTo>
                  <a:pt x="1492532" y="1190806"/>
                  <a:pt x="1542567" y="1142190"/>
                  <a:pt x="1570364" y="1082625"/>
                </a:cubicBezTo>
                <a:lnTo>
                  <a:pt x="1611979" y="1084480"/>
                </a:lnTo>
                <a:cubicBezTo>
                  <a:pt x="1611907" y="1085463"/>
                  <a:pt x="1611568" y="1086339"/>
                  <a:pt x="1611227" y="1087208"/>
                </a:cubicBezTo>
                <a:lnTo>
                  <a:pt x="1663550" y="1088078"/>
                </a:lnTo>
                <a:lnTo>
                  <a:pt x="1695407" y="1161267"/>
                </a:lnTo>
                <a:lnTo>
                  <a:pt x="1703861" y="1180690"/>
                </a:lnTo>
                <a:lnTo>
                  <a:pt x="573472" y="1672716"/>
                </a:lnTo>
                <a:lnTo>
                  <a:pt x="565018" y="1653293"/>
                </a:lnTo>
                <a:lnTo>
                  <a:pt x="246094" y="920590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ln>
                <a:solidFill>
                  <a:schemeClr val="tx1">
                    <a:alpha val="0"/>
                  </a:schemeClr>
                </a:solidFill>
              </a:ln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5701320" y="4779328"/>
            <a:ext cx="617767" cy="703176"/>
            <a:chOff x="2981668" y="2145564"/>
            <a:chExt cx="3235820" cy="3683194"/>
          </a:xfrm>
          <a:solidFill>
            <a:srgbClr val="666666"/>
          </a:solidFill>
        </p:grpSpPr>
        <p:sp>
          <p:nvSpPr>
            <p:cNvPr id="103" name="Round Diagonal Corner Rectangle 53"/>
            <p:cNvSpPr/>
            <p:nvPr/>
          </p:nvSpPr>
          <p:spPr bwMode="auto">
            <a:xfrm>
              <a:off x="2981668" y="2145564"/>
              <a:ext cx="3235820" cy="3683194"/>
            </a:xfrm>
            <a:custGeom>
              <a:avLst/>
              <a:gdLst/>
              <a:ahLst/>
              <a:cxnLst/>
              <a:rect l="l" t="t" r="r" b="b"/>
              <a:pathLst>
                <a:path w="3235820" h="3683194">
                  <a:moveTo>
                    <a:pt x="595559" y="2728977"/>
                  </a:moveTo>
                  <a:lnTo>
                    <a:pt x="778439" y="2728977"/>
                  </a:lnTo>
                  <a:lnTo>
                    <a:pt x="778439" y="2913127"/>
                  </a:lnTo>
                  <a:lnTo>
                    <a:pt x="595559" y="2913127"/>
                  </a:lnTo>
                  <a:close/>
                  <a:moveTo>
                    <a:pt x="595559" y="2243919"/>
                  </a:moveTo>
                  <a:lnTo>
                    <a:pt x="778439" y="2243919"/>
                  </a:lnTo>
                  <a:lnTo>
                    <a:pt x="778439" y="2428069"/>
                  </a:lnTo>
                  <a:lnTo>
                    <a:pt x="595559" y="2428069"/>
                  </a:lnTo>
                  <a:close/>
                  <a:moveTo>
                    <a:pt x="595559" y="1758862"/>
                  </a:moveTo>
                  <a:lnTo>
                    <a:pt x="778439" y="1758862"/>
                  </a:lnTo>
                  <a:lnTo>
                    <a:pt x="778439" y="1943012"/>
                  </a:lnTo>
                  <a:lnTo>
                    <a:pt x="595559" y="1943012"/>
                  </a:lnTo>
                  <a:close/>
                  <a:moveTo>
                    <a:pt x="595559" y="1273805"/>
                  </a:moveTo>
                  <a:lnTo>
                    <a:pt x="778439" y="1273805"/>
                  </a:lnTo>
                  <a:lnTo>
                    <a:pt x="778439" y="1457955"/>
                  </a:lnTo>
                  <a:lnTo>
                    <a:pt x="595559" y="1457955"/>
                  </a:lnTo>
                  <a:close/>
                  <a:moveTo>
                    <a:pt x="595560" y="650095"/>
                  </a:moveTo>
                  <a:lnTo>
                    <a:pt x="1886300" y="650095"/>
                  </a:lnTo>
                  <a:lnTo>
                    <a:pt x="1886300" y="1018395"/>
                  </a:lnTo>
                  <a:lnTo>
                    <a:pt x="595560" y="1018395"/>
                  </a:lnTo>
                  <a:close/>
                  <a:moveTo>
                    <a:pt x="2054321" y="226077"/>
                  </a:moveTo>
                  <a:lnTo>
                    <a:pt x="520579" y="233218"/>
                  </a:lnTo>
                  <a:cubicBezTo>
                    <a:pt x="362905" y="233218"/>
                    <a:pt x="242283" y="270202"/>
                    <a:pt x="235081" y="524949"/>
                  </a:cubicBezTo>
                  <a:lnTo>
                    <a:pt x="235081" y="3449976"/>
                  </a:lnTo>
                  <a:lnTo>
                    <a:pt x="2715242" y="3449976"/>
                  </a:lnTo>
                  <a:cubicBezTo>
                    <a:pt x="2937738" y="3478785"/>
                    <a:pt x="3000739" y="3319364"/>
                    <a:pt x="3000739" y="3158245"/>
                  </a:cubicBezTo>
                  <a:lnTo>
                    <a:pt x="3000739" y="1068756"/>
                  </a:lnTo>
                  <a:lnTo>
                    <a:pt x="2242421" y="1068756"/>
                  </a:lnTo>
                  <a:cubicBezTo>
                    <a:pt x="2138537" y="1068756"/>
                    <a:pt x="2054321" y="984540"/>
                    <a:pt x="2054321" y="880655"/>
                  </a:cubicBezTo>
                  <a:close/>
                  <a:moveTo>
                    <a:pt x="334033" y="0"/>
                  </a:moveTo>
                  <a:lnTo>
                    <a:pt x="2218267" y="0"/>
                  </a:lnTo>
                  <a:lnTo>
                    <a:pt x="3235820" y="939280"/>
                  </a:lnTo>
                  <a:lnTo>
                    <a:pt x="3235820" y="3349162"/>
                  </a:lnTo>
                  <a:cubicBezTo>
                    <a:pt x="3235820" y="3533642"/>
                    <a:pt x="3086268" y="3683194"/>
                    <a:pt x="2901788" y="3683194"/>
                  </a:cubicBezTo>
                  <a:lnTo>
                    <a:pt x="0" y="3683194"/>
                  </a:lnTo>
                  <a:lnTo>
                    <a:pt x="0" y="334033"/>
                  </a:lnTo>
                  <a:cubicBezTo>
                    <a:pt x="0" y="149553"/>
                    <a:pt x="149553" y="0"/>
                    <a:pt x="334033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Wave 8"/>
            <p:cNvSpPr/>
            <p:nvPr/>
          </p:nvSpPr>
          <p:spPr>
            <a:xfrm>
              <a:off x="3908425" y="3457965"/>
              <a:ext cx="1768475" cy="117211"/>
            </a:xfrm>
            <a:custGeom>
              <a:avLst/>
              <a:gdLst>
                <a:gd name="connsiteX0" fmla="*/ 339725 w 5497620"/>
                <a:gd name="connsiteY0" fmla="*/ 1022 h 327083"/>
                <a:gd name="connsiteX1" fmla="*/ 1358900 w 5497620"/>
                <a:gd name="connsiteY1" fmla="*/ 39717 h 327083"/>
                <a:gd name="connsiteX2" fmla="*/ 1698625 w 5497620"/>
                <a:gd name="connsiteY2" fmla="*/ 1022 h 327083"/>
                <a:gd name="connsiteX3" fmla="*/ 2717800 w 5497620"/>
                <a:gd name="connsiteY3" fmla="*/ 39717 h 327083"/>
                <a:gd name="connsiteX4" fmla="*/ 3057525 w 5497620"/>
                <a:gd name="connsiteY4" fmla="*/ 1022 h 327083"/>
                <a:gd name="connsiteX5" fmla="*/ 4076700 w 5497620"/>
                <a:gd name="connsiteY5" fmla="*/ 39717 h 327083"/>
                <a:gd name="connsiteX6" fmla="*/ 5435600 w 5497620"/>
                <a:gd name="connsiteY6" fmla="*/ 39717 h 327083"/>
                <a:gd name="connsiteX7" fmla="*/ 5435600 w 5497620"/>
                <a:gd name="connsiteY7" fmla="*/ 287367 h 327083"/>
                <a:gd name="connsiteX8" fmla="*/ 4076700 w 5497620"/>
                <a:gd name="connsiteY8" fmla="*/ 287367 h 327083"/>
                <a:gd name="connsiteX9" fmla="*/ 2717800 w 5497620"/>
                <a:gd name="connsiteY9" fmla="*/ 287367 h 327083"/>
                <a:gd name="connsiteX10" fmla="*/ 1358900 w 5497620"/>
                <a:gd name="connsiteY10" fmla="*/ 287367 h 327083"/>
                <a:gd name="connsiteX11" fmla="*/ 0 w 5497620"/>
                <a:gd name="connsiteY11" fmla="*/ 287367 h 327083"/>
                <a:gd name="connsiteX12" fmla="*/ 0 w 5497620"/>
                <a:gd name="connsiteY12" fmla="*/ 39717 h 327083"/>
                <a:gd name="connsiteX13" fmla="*/ 339725 w 5497620"/>
                <a:gd name="connsiteY13" fmla="*/ 1022 h 327083"/>
                <a:gd name="connsiteX0" fmla="*/ 339725 w 5521465"/>
                <a:gd name="connsiteY0" fmla="*/ 1022 h 327083"/>
                <a:gd name="connsiteX1" fmla="*/ 1358900 w 5521465"/>
                <a:gd name="connsiteY1" fmla="*/ 39717 h 327083"/>
                <a:gd name="connsiteX2" fmla="*/ 1698625 w 5521465"/>
                <a:gd name="connsiteY2" fmla="*/ 1022 h 327083"/>
                <a:gd name="connsiteX3" fmla="*/ 2717800 w 5521465"/>
                <a:gd name="connsiteY3" fmla="*/ 39717 h 327083"/>
                <a:gd name="connsiteX4" fmla="*/ 3057525 w 5521465"/>
                <a:gd name="connsiteY4" fmla="*/ 1022 h 327083"/>
                <a:gd name="connsiteX5" fmla="*/ 4076700 w 5521465"/>
                <a:gd name="connsiteY5" fmla="*/ 39717 h 327083"/>
                <a:gd name="connsiteX6" fmla="*/ 5435600 w 5521465"/>
                <a:gd name="connsiteY6" fmla="*/ 39717 h 327083"/>
                <a:gd name="connsiteX7" fmla="*/ 5435600 w 5521465"/>
                <a:gd name="connsiteY7" fmla="*/ 287367 h 327083"/>
                <a:gd name="connsiteX8" fmla="*/ 4076700 w 5521465"/>
                <a:gd name="connsiteY8" fmla="*/ 287367 h 327083"/>
                <a:gd name="connsiteX9" fmla="*/ 2717800 w 5521465"/>
                <a:gd name="connsiteY9" fmla="*/ 287367 h 327083"/>
                <a:gd name="connsiteX10" fmla="*/ 1358900 w 5521465"/>
                <a:gd name="connsiteY10" fmla="*/ 287367 h 327083"/>
                <a:gd name="connsiteX11" fmla="*/ 0 w 5521465"/>
                <a:gd name="connsiteY11" fmla="*/ 287367 h 327083"/>
                <a:gd name="connsiteX12" fmla="*/ 0 w 5521465"/>
                <a:gd name="connsiteY12" fmla="*/ 39717 h 327083"/>
                <a:gd name="connsiteX13" fmla="*/ 339725 w 5521465"/>
                <a:gd name="connsiteY13" fmla="*/ 1022 h 327083"/>
                <a:gd name="connsiteX0" fmla="*/ 339725 w 5526976"/>
                <a:gd name="connsiteY0" fmla="*/ 1022 h 327083"/>
                <a:gd name="connsiteX1" fmla="*/ 1358900 w 5526976"/>
                <a:gd name="connsiteY1" fmla="*/ 39717 h 327083"/>
                <a:gd name="connsiteX2" fmla="*/ 1698625 w 5526976"/>
                <a:gd name="connsiteY2" fmla="*/ 1022 h 327083"/>
                <a:gd name="connsiteX3" fmla="*/ 2717800 w 5526976"/>
                <a:gd name="connsiteY3" fmla="*/ 39717 h 327083"/>
                <a:gd name="connsiteX4" fmla="*/ 3057525 w 5526976"/>
                <a:gd name="connsiteY4" fmla="*/ 1022 h 327083"/>
                <a:gd name="connsiteX5" fmla="*/ 4076700 w 5526976"/>
                <a:gd name="connsiteY5" fmla="*/ 39717 h 327083"/>
                <a:gd name="connsiteX6" fmla="*/ 5435600 w 5526976"/>
                <a:gd name="connsiteY6" fmla="*/ 39717 h 327083"/>
                <a:gd name="connsiteX7" fmla="*/ 5435600 w 5526976"/>
                <a:gd name="connsiteY7" fmla="*/ 287367 h 327083"/>
                <a:gd name="connsiteX8" fmla="*/ 4076700 w 5526976"/>
                <a:gd name="connsiteY8" fmla="*/ 287367 h 327083"/>
                <a:gd name="connsiteX9" fmla="*/ 2717800 w 5526976"/>
                <a:gd name="connsiteY9" fmla="*/ 287367 h 327083"/>
                <a:gd name="connsiteX10" fmla="*/ 1358900 w 5526976"/>
                <a:gd name="connsiteY10" fmla="*/ 287367 h 327083"/>
                <a:gd name="connsiteX11" fmla="*/ 0 w 5526976"/>
                <a:gd name="connsiteY11" fmla="*/ 287367 h 327083"/>
                <a:gd name="connsiteX12" fmla="*/ 0 w 5526976"/>
                <a:gd name="connsiteY12" fmla="*/ 39717 h 327083"/>
                <a:gd name="connsiteX13" fmla="*/ 339725 w 5526976"/>
                <a:gd name="connsiteY13" fmla="*/ 1022 h 327083"/>
                <a:gd name="connsiteX0" fmla="*/ 339725 w 5533551"/>
                <a:gd name="connsiteY0" fmla="*/ 1022 h 327083"/>
                <a:gd name="connsiteX1" fmla="*/ 1358900 w 5533551"/>
                <a:gd name="connsiteY1" fmla="*/ 39717 h 327083"/>
                <a:gd name="connsiteX2" fmla="*/ 1698625 w 5533551"/>
                <a:gd name="connsiteY2" fmla="*/ 1022 h 327083"/>
                <a:gd name="connsiteX3" fmla="*/ 2717800 w 5533551"/>
                <a:gd name="connsiteY3" fmla="*/ 39717 h 327083"/>
                <a:gd name="connsiteX4" fmla="*/ 3057525 w 5533551"/>
                <a:gd name="connsiteY4" fmla="*/ 1022 h 327083"/>
                <a:gd name="connsiteX5" fmla="*/ 4076700 w 5533551"/>
                <a:gd name="connsiteY5" fmla="*/ 39717 h 327083"/>
                <a:gd name="connsiteX6" fmla="*/ 5435600 w 5533551"/>
                <a:gd name="connsiteY6" fmla="*/ 39717 h 327083"/>
                <a:gd name="connsiteX7" fmla="*/ 5435600 w 5533551"/>
                <a:gd name="connsiteY7" fmla="*/ 287367 h 327083"/>
                <a:gd name="connsiteX8" fmla="*/ 4076700 w 5533551"/>
                <a:gd name="connsiteY8" fmla="*/ 287367 h 327083"/>
                <a:gd name="connsiteX9" fmla="*/ 2717800 w 5533551"/>
                <a:gd name="connsiteY9" fmla="*/ 287367 h 327083"/>
                <a:gd name="connsiteX10" fmla="*/ 1358900 w 5533551"/>
                <a:gd name="connsiteY10" fmla="*/ 287367 h 327083"/>
                <a:gd name="connsiteX11" fmla="*/ 0 w 5533551"/>
                <a:gd name="connsiteY11" fmla="*/ 287367 h 327083"/>
                <a:gd name="connsiteX12" fmla="*/ 0 w 5533551"/>
                <a:gd name="connsiteY12" fmla="*/ 39717 h 327083"/>
                <a:gd name="connsiteX13" fmla="*/ 339725 w 5533551"/>
                <a:gd name="connsiteY13" fmla="*/ 1022 h 32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33551" h="327083">
                  <a:moveTo>
                    <a:pt x="339725" y="1022"/>
                  </a:moveTo>
                  <a:cubicBezTo>
                    <a:pt x="679450" y="13920"/>
                    <a:pt x="1019175" y="142904"/>
                    <a:pt x="1358900" y="39717"/>
                  </a:cubicBezTo>
                  <a:cubicBezTo>
                    <a:pt x="1472142" y="5321"/>
                    <a:pt x="1585383" y="-3278"/>
                    <a:pt x="1698625" y="1022"/>
                  </a:cubicBezTo>
                  <a:cubicBezTo>
                    <a:pt x="2038350" y="13920"/>
                    <a:pt x="2378075" y="142904"/>
                    <a:pt x="2717800" y="39717"/>
                  </a:cubicBezTo>
                  <a:cubicBezTo>
                    <a:pt x="2831042" y="5321"/>
                    <a:pt x="2944283" y="-3278"/>
                    <a:pt x="3057525" y="1022"/>
                  </a:cubicBezTo>
                  <a:cubicBezTo>
                    <a:pt x="3397250" y="13920"/>
                    <a:pt x="3736975" y="142904"/>
                    <a:pt x="4076700" y="39717"/>
                  </a:cubicBezTo>
                  <a:cubicBezTo>
                    <a:pt x="4529667" y="-97866"/>
                    <a:pt x="4982633" y="177300"/>
                    <a:pt x="5435600" y="39717"/>
                  </a:cubicBezTo>
                  <a:cubicBezTo>
                    <a:pt x="5588433" y="89046"/>
                    <a:pt x="5541917" y="297846"/>
                    <a:pt x="5435600" y="287367"/>
                  </a:cubicBezTo>
                  <a:cubicBezTo>
                    <a:pt x="4982633" y="424950"/>
                    <a:pt x="4529667" y="149784"/>
                    <a:pt x="4076700" y="287367"/>
                  </a:cubicBezTo>
                  <a:cubicBezTo>
                    <a:pt x="3623733" y="424950"/>
                    <a:pt x="3170767" y="149784"/>
                    <a:pt x="2717800" y="287367"/>
                  </a:cubicBezTo>
                  <a:cubicBezTo>
                    <a:pt x="2264833" y="424950"/>
                    <a:pt x="1811867" y="149784"/>
                    <a:pt x="1358900" y="287367"/>
                  </a:cubicBezTo>
                  <a:cubicBezTo>
                    <a:pt x="905933" y="424950"/>
                    <a:pt x="452967" y="149784"/>
                    <a:pt x="0" y="287367"/>
                  </a:cubicBezTo>
                  <a:lnTo>
                    <a:pt x="0" y="39717"/>
                  </a:lnTo>
                  <a:cubicBezTo>
                    <a:pt x="113242" y="5321"/>
                    <a:pt x="226483" y="-3278"/>
                    <a:pt x="339725" y="102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11" name="Wave 8"/>
            <p:cNvSpPr/>
            <p:nvPr/>
          </p:nvSpPr>
          <p:spPr>
            <a:xfrm>
              <a:off x="3908425" y="3937791"/>
              <a:ext cx="1768475" cy="117211"/>
            </a:xfrm>
            <a:custGeom>
              <a:avLst/>
              <a:gdLst>
                <a:gd name="connsiteX0" fmla="*/ 339725 w 5497620"/>
                <a:gd name="connsiteY0" fmla="*/ 1022 h 327083"/>
                <a:gd name="connsiteX1" fmla="*/ 1358900 w 5497620"/>
                <a:gd name="connsiteY1" fmla="*/ 39717 h 327083"/>
                <a:gd name="connsiteX2" fmla="*/ 1698625 w 5497620"/>
                <a:gd name="connsiteY2" fmla="*/ 1022 h 327083"/>
                <a:gd name="connsiteX3" fmla="*/ 2717800 w 5497620"/>
                <a:gd name="connsiteY3" fmla="*/ 39717 h 327083"/>
                <a:gd name="connsiteX4" fmla="*/ 3057525 w 5497620"/>
                <a:gd name="connsiteY4" fmla="*/ 1022 h 327083"/>
                <a:gd name="connsiteX5" fmla="*/ 4076700 w 5497620"/>
                <a:gd name="connsiteY5" fmla="*/ 39717 h 327083"/>
                <a:gd name="connsiteX6" fmla="*/ 5435600 w 5497620"/>
                <a:gd name="connsiteY6" fmla="*/ 39717 h 327083"/>
                <a:gd name="connsiteX7" fmla="*/ 5435600 w 5497620"/>
                <a:gd name="connsiteY7" fmla="*/ 287367 h 327083"/>
                <a:gd name="connsiteX8" fmla="*/ 4076700 w 5497620"/>
                <a:gd name="connsiteY8" fmla="*/ 287367 h 327083"/>
                <a:gd name="connsiteX9" fmla="*/ 2717800 w 5497620"/>
                <a:gd name="connsiteY9" fmla="*/ 287367 h 327083"/>
                <a:gd name="connsiteX10" fmla="*/ 1358900 w 5497620"/>
                <a:gd name="connsiteY10" fmla="*/ 287367 h 327083"/>
                <a:gd name="connsiteX11" fmla="*/ 0 w 5497620"/>
                <a:gd name="connsiteY11" fmla="*/ 287367 h 327083"/>
                <a:gd name="connsiteX12" fmla="*/ 0 w 5497620"/>
                <a:gd name="connsiteY12" fmla="*/ 39717 h 327083"/>
                <a:gd name="connsiteX13" fmla="*/ 339725 w 5497620"/>
                <a:gd name="connsiteY13" fmla="*/ 1022 h 327083"/>
                <a:gd name="connsiteX0" fmla="*/ 339725 w 5521465"/>
                <a:gd name="connsiteY0" fmla="*/ 1022 h 327083"/>
                <a:gd name="connsiteX1" fmla="*/ 1358900 w 5521465"/>
                <a:gd name="connsiteY1" fmla="*/ 39717 h 327083"/>
                <a:gd name="connsiteX2" fmla="*/ 1698625 w 5521465"/>
                <a:gd name="connsiteY2" fmla="*/ 1022 h 327083"/>
                <a:gd name="connsiteX3" fmla="*/ 2717800 w 5521465"/>
                <a:gd name="connsiteY3" fmla="*/ 39717 h 327083"/>
                <a:gd name="connsiteX4" fmla="*/ 3057525 w 5521465"/>
                <a:gd name="connsiteY4" fmla="*/ 1022 h 327083"/>
                <a:gd name="connsiteX5" fmla="*/ 4076700 w 5521465"/>
                <a:gd name="connsiteY5" fmla="*/ 39717 h 327083"/>
                <a:gd name="connsiteX6" fmla="*/ 5435600 w 5521465"/>
                <a:gd name="connsiteY6" fmla="*/ 39717 h 327083"/>
                <a:gd name="connsiteX7" fmla="*/ 5435600 w 5521465"/>
                <a:gd name="connsiteY7" fmla="*/ 287367 h 327083"/>
                <a:gd name="connsiteX8" fmla="*/ 4076700 w 5521465"/>
                <a:gd name="connsiteY8" fmla="*/ 287367 h 327083"/>
                <a:gd name="connsiteX9" fmla="*/ 2717800 w 5521465"/>
                <a:gd name="connsiteY9" fmla="*/ 287367 h 327083"/>
                <a:gd name="connsiteX10" fmla="*/ 1358900 w 5521465"/>
                <a:gd name="connsiteY10" fmla="*/ 287367 h 327083"/>
                <a:gd name="connsiteX11" fmla="*/ 0 w 5521465"/>
                <a:gd name="connsiteY11" fmla="*/ 287367 h 327083"/>
                <a:gd name="connsiteX12" fmla="*/ 0 w 5521465"/>
                <a:gd name="connsiteY12" fmla="*/ 39717 h 327083"/>
                <a:gd name="connsiteX13" fmla="*/ 339725 w 5521465"/>
                <a:gd name="connsiteY13" fmla="*/ 1022 h 327083"/>
                <a:gd name="connsiteX0" fmla="*/ 339725 w 5526976"/>
                <a:gd name="connsiteY0" fmla="*/ 1022 h 327083"/>
                <a:gd name="connsiteX1" fmla="*/ 1358900 w 5526976"/>
                <a:gd name="connsiteY1" fmla="*/ 39717 h 327083"/>
                <a:gd name="connsiteX2" fmla="*/ 1698625 w 5526976"/>
                <a:gd name="connsiteY2" fmla="*/ 1022 h 327083"/>
                <a:gd name="connsiteX3" fmla="*/ 2717800 w 5526976"/>
                <a:gd name="connsiteY3" fmla="*/ 39717 h 327083"/>
                <a:gd name="connsiteX4" fmla="*/ 3057525 w 5526976"/>
                <a:gd name="connsiteY4" fmla="*/ 1022 h 327083"/>
                <a:gd name="connsiteX5" fmla="*/ 4076700 w 5526976"/>
                <a:gd name="connsiteY5" fmla="*/ 39717 h 327083"/>
                <a:gd name="connsiteX6" fmla="*/ 5435600 w 5526976"/>
                <a:gd name="connsiteY6" fmla="*/ 39717 h 327083"/>
                <a:gd name="connsiteX7" fmla="*/ 5435600 w 5526976"/>
                <a:gd name="connsiteY7" fmla="*/ 287367 h 327083"/>
                <a:gd name="connsiteX8" fmla="*/ 4076700 w 5526976"/>
                <a:gd name="connsiteY8" fmla="*/ 287367 h 327083"/>
                <a:gd name="connsiteX9" fmla="*/ 2717800 w 5526976"/>
                <a:gd name="connsiteY9" fmla="*/ 287367 h 327083"/>
                <a:gd name="connsiteX10" fmla="*/ 1358900 w 5526976"/>
                <a:gd name="connsiteY10" fmla="*/ 287367 h 327083"/>
                <a:gd name="connsiteX11" fmla="*/ 0 w 5526976"/>
                <a:gd name="connsiteY11" fmla="*/ 287367 h 327083"/>
                <a:gd name="connsiteX12" fmla="*/ 0 w 5526976"/>
                <a:gd name="connsiteY12" fmla="*/ 39717 h 327083"/>
                <a:gd name="connsiteX13" fmla="*/ 339725 w 5526976"/>
                <a:gd name="connsiteY13" fmla="*/ 1022 h 327083"/>
                <a:gd name="connsiteX0" fmla="*/ 339725 w 5533551"/>
                <a:gd name="connsiteY0" fmla="*/ 1022 h 327083"/>
                <a:gd name="connsiteX1" fmla="*/ 1358900 w 5533551"/>
                <a:gd name="connsiteY1" fmla="*/ 39717 h 327083"/>
                <a:gd name="connsiteX2" fmla="*/ 1698625 w 5533551"/>
                <a:gd name="connsiteY2" fmla="*/ 1022 h 327083"/>
                <a:gd name="connsiteX3" fmla="*/ 2717800 w 5533551"/>
                <a:gd name="connsiteY3" fmla="*/ 39717 h 327083"/>
                <a:gd name="connsiteX4" fmla="*/ 3057525 w 5533551"/>
                <a:gd name="connsiteY4" fmla="*/ 1022 h 327083"/>
                <a:gd name="connsiteX5" fmla="*/ 4076700 w 5533551"/>
                <a:gd name="connsiteY5" fmla="*/ 39717 h 327083"/>
                <a:gd name="connsiteX6" fmla="*/ 5435600 w 5533551"/>
                <a:gd name="connsiteY6" fmla="*/ 39717 h 327083"/>
                <a:gd name="connsiteX7" fmla="*/ 5435600 w 5533551"/>
                <a:gd name="connsiteY7" fmla="*/ 287367 h 327083"/>
                <a:gd name="connsiteX8" fmla="*/ 4076700 w 5533551"/>
                <a:gd name="connsiteY8" fmla="*/ 287367 h 327083"/>
                <a:gd name="connsiteX9" fmla="*/ 2717800 w 5533551"/>
                <a:gd name="connsiteY9" fmla="*/ 287367 h 327083"/>
                <a:gd name="connsiteX10" fmla="*/ 1358900 w 5533551"/>
                <a:gd name="connsiteY10" fmla="*/ 287367 h 327083"/>
                <a:gd name="connsiteX11" fmla="*/ 0 w 5533551"/>
                <a:gd name="connsiteY11" fmla="*/ 287367 h 327083"/>
                <a:gd name="connsiteX12" fmla="*/ 0 w 5533551"/>
                <a:gd name="connsiteY12" fmla="*/ 39717 h 327083"/>
                <a:gd name="connsiteX13" fmla="*/ 339725 w 5533551"/>
                <a:gd name="connsiteY13" fmla="*/ 1022 h 32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33551" h="327083">
                  <a:moveTo>
                    <a:pt x="339725" y="1022"/>
                  </a:moveTo>
                  <a:cubicBezTo>
                    <a:pt x="679450" y="13920"/>
                    <a:pt x="1019175" y="142904"/>
                    <a:pt x="1358900" y="39717"/>
                  </a:cubicBezTo>
                  <a:cubicBezTo>
                    <a:pt x="1472142" y="5321"/>
                    <a:pt x="1585383" y="-3278"/>
                    <a:pt x="1698625" y="1022"/>
                  </a:cubicBezTo>
                  <a:cubicBezTo>
                    <a:pt x="2038350" y="13920"/>
                    <a:pt x="2378075" y="142904"/>
                    <a:pt x="2717800" y="39717"/>
                  </a:cubicBezTo>
                  <a:cubicBezTo>
                    <a:pt x="2831042" y="5321"/>
                    <a:pt x="2944283" y="-3278"/>
                    <a:pt x="3057525" y="1022"/>
                  </a:cubicBezTo>
                  <a:cubicBezTo>
                    <a:pt x="3397250" y="13920"/>
                    <a:pt x="3736975" y="142904"/>
                    <a:pt x="4076700" y="39717"/>
                  </a:cubicBezTo>
                  <a:cubicBezTo>
                    <a:pt x="4529667" y="-97866"/>
                    <a:pt x="4982633" y="177300"/>
                    <a:pt x="5435600" y="39717"/>
                  </a:cubicBezTo>
                  <a:cubicBezTo>
                    <a:pt x="5588433" y="89046"/>
                    <a:pt x="5541917" y="297846"/>
                    <a:pt x="5435600" y="287367"/>
                  </a:cubicBezTo>
                  <a:cubicBezTo>
                    <a:pt x="4982633" y="424950"/>
                    <a:pt x="4529667" y="149784"/>
                    <a:pt x="4076700" y="287367"/>
                  </a:cubicBezTo>
                  <a:cubicBezTo>
                    <a:pt x="3623733" y="424950"/>
                    <a:pt x="3170767" y="149784"/>
                    <a:pt x="2717800" y="287367"/>
                  </a:cubicBezTo>
                  <a:cubicBezTo>
                    <a:pt x="2264833" y="424950"/>
                    <a:pt x="1811867" y="149784"/>
                    <a:pt x="1358900" y="287367"/>
                  </a:cubicBezTo>
                  <a:cubicBezTo>
                    <a:pt x="905933" y="424950"/>
                    <a:pt x="452967" y="149784"/>
                    <a:pt x="0" y="287367"/>
                  </a:cubicBezTo>
                  <a:lnTo>
                    <a:pt x="0" y="39717"/>
                  </a:lnTo>
                  <a:cubicBezTo>
                    <a:pt x="113242" y="5321"/>
                    <a:pt x="226483" y="-3278"/>
                    <a:pt x="339725" y="102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12" name="Wave 8"/>
            <p:cNvSpPr/>
            <p:nvPr/>
          </p:nvSpPr>
          <p:spPr>
            <a:xfrm>
              <a:off x="3908425" y="4418301"/>
              <a:ext cx="1768475" cy="117211"/>
            </a:xfrm>
            <a:custGeom>
              <a:avLst/>
              <a:gdLst>
                <a:gd name="connsiteX0" fmla="*/ 339725 w 5497620"/>
                <a:gd name="connsiteY0" fmla="*/ 1022 h 327083"/>
                <a:gd name="connsiteX1" fmla="*/ 1358900 w 5497620"/>
                <a:gd name="connsiteY1" fmla="*/ 39717 h 327083"/>
                <a:gd name="connsiteX2" fmla="*/ 1698625 w 5497620"/>
                <a:gd name="connsiteY2" fmla="*/ 1022 h 327083"/>
                <a:gd name="connsiteX3" fmla="*/ 2717800 w 5497620"/>
                <a:gd name="connsiteY3" fmla="*/ 39717 h 327083"/>
                <a:gd name="connsiteX4" fmla="*/ 3057525 w 5497620"/>
                <a:gd name="connsiteY4" fmla="*/ 1022 h 327083"/>
                <a:gd name="connsiteX5" fmla="*/ 4076700 w 5497620"/>
                <a:gd name="connsiteY5" fmla="*/ 39717 h 327083"/>
                <a:gd name="connsiteX6" fmla="*/ 5435600 w 5497620"/>
                <a:gd name="connsiteY6" fmla="*/ 39717 h 327083"/>
                <a:gd name="connsiteX7" fmla="*/ 5435600 w 5497620"/>
                <a:gd name="connsiteY7" fmla="*/ 287367 h 327083"/>
                <a:gd name="connsiteX8" fmla="*/ 4076700 w 5497620"/>
                <a:gd name="connsiteY8" fmla="*/ 287367 h 327083"/>
                <a:gd name="connsiteX9" fmla="*/ 2717800 w 5497620"/>
                <a:gd name="connsiteY9" fmla="*/ 287367 h 327083"/>
                <a:gd name="connsiteX10" fmla="*/ 1358900 w 5497620"/>
                <a:gd name="connsiteY10" fmla="*/ 287367 h 327083"/>
                <a:gd name="connsiteX11" fmla="*/ 0 w 5497620"/>
                <a:gd name="connsiteY11" fmla="*/ 287367 h 327083"/>
                <a:gd name="connsiteX12" fmla="*/ 0 w 5497620"/>
                <a:gd name="connsiteY12" fmla="*/ 39717 h 327083"/>
                <a:gd name="connsiteX13" fmla="*/ 339725 w 5497620"/>
                <a:gd name="connsiteY13" fmla="*/ 1022 h 327083"/>
                <a:gd name="connsiteX0" fmla="*/ 339725 w 5521465"/>
                <a:gd name="connsiteY0" fmla="*/ 1022 h 327083"/>
                <a:gd name="connsiteX1" fmla="*/ 1358900 w 5521465"/>
                <a:gd name="connsiteY1" fmla="*/ 39717 h 327083"/>
                <a:gd name="connsiteX2" fmla="*/ 1698625 w 5521465"/>
                <a:gd name="connsiteY2" fmla="*/ 1022 h 327083"/>
                <a:gd name="connsiteX3" fmla="*/ 2717800 w 5521465"/>
                <a:gd name="connsiteY3" fmla="*/ 39717 h 327083"/>
                <a:gd name="connsiteX4" fmla="*/ 3057525 w 5521465"/>
                <a:gd name="connsiteY4" fmla="*/ 1022 h 327083"/>
                <a:gd name="connsiteX5" fmla="*/ 4076700 w 5521465"/>
                <a:gd name="connsiteY5" fmla="*/ 39717 h 327083"/>
                <a:gd name="connsiteX6" fmla="*/ 5435600 w 5521465"/>
                <a:gd name="connsiteY6" fmla="*/ 39717 h 327083"/>
                <a:gd name="connsiteX7" fmla="*/ 5435600 w 5521465"/>
                <a:gd name="connsiteY7" fmla="*/ 287367 h 327083"/>
                <a:gd name="connsiteX8" fmla="*/ 4076700 w 5521465"/>
                <a:gd name="connsiteY8" fmla="*/ 287367 h 327083"/>
                <a:gd name="connsiteX9" fmla="*/ 2717800 w 5521465"/>
                <a:gd name="connsiteY9" fmla="*/ 287367 h 327083"/>
                <a:gd name="connsiteX10" fmla="*/ 1358900 w 5521465"/>
                <a:gd name="connsiteY10" fmla="*/ 287367 h 327083"/>
                <a:gd name="connsiteX11" fmla="*/ 0 w 5521465"/>
                <a:gd name="connsiteY11" fmla="*/ 287367 h 327083"/>
                <a:gd name="connsiteX12" fmla="*/ 0 w 5521465"/>
                <a:gd name="connsiteY12" fmla="*/ 39717 h 327083"/>
                <a:gd name="connsiteX13" fmla="*/ 339725 w 5521465"/>
                <a:gd name="connsiteY13" fmla="*/ 1022 h 327083"/>
                <a:gd name="connsiteX0" fmla="*/ 339725 w 5526976"/>
                <a:gd name="connsiteY0" fmla="*/ 1022 h 327083"/>
                <a:gd name="connsiteX1" fmla="*/ 1358900 w 5526976"/>
                <a:gd name="connsiteY1" fmla="*/ 39717 h 327083"/>
                <a:gd name="connsiteX2" fmla="*/ 1698625 w 5526976"/>
                <a:gd name="connsiteY2" fmla="*/ 1022 h 327083"/>
                <a:gd name="connsiteX3" fmla="*/ 2717800 w 5526976"/>
                <a:gd name="connsiteY3" fmla="*/ 39717 h 327083"/>
                <a:gd name="connsiteX4" fmla="*/ 3057525 w 5526976"/>
                <a:gd name="connsiteY4" fmla="*/ 1022 h 327083"/>
                <a:gd name="connsiteX5" fmla="*/ 4076700 w 5526976"/>
                <a:gd name="connsiteY5" fmla="*/ 39717 h 327083"/>
                <a:gd name="connsiteX6" fmla="*/ 5435600 w 5526976"/>
                <a:gd name="connsiteY6" fmla="*/ 39717 h 327083"/>
                <a:gd name="connsiteX7" fmla="*/ 5435600 w 5526976"/>
                <a:gd name="connsiteY7" fmla="*/ 287367 h 327083"/>
                <a:gd name="connsiteX8" fmla="*/ 4076700 w 5526976"/>
                <a:gd name="connsiteY8" fmla="*/ 287367 h 327083"/>
                <a:gd name="connsiteX9" fmla="*/ 2717800 w 5526976"/>
                <a:gd name="connsiteY9" fmla="*/ 287367 h 327083"/>
                <a:gd name="connsiteX10" fmla="*/ 1358900 w 5526976"/>
                <a:gd name="connsiteY10" fmla="*/ 287367 h 327083"/>
                <a:gd name="connsiteX11" fmla="*/ 0 w 5526976"/>
                <a:gd name="connsiteY11" fmla="*/ 287367 h 327083"/>
                <a:gd name="connsiteX12" fmla="*/ 0 w 5526976"/>
                <a:gd name="connsiteY12" fmla="*/ 39717 h 327083"/>
                <a:gd name="connsiteX13" fmla="*/ 339725 w 5526976"/>
                <a:gd name="connsiteY13" fmla="*/ 1022 h 327083"/>
                <a:gd name="connsiteX0" fmla="*/ 339725 w 5533551"/>
                <a:gd name="connsiteY0" fmla="*/ 1022 h 327083"/>
                <a:gd name="connsiteX1" fmla="*/ 1358900 w 5533551"/>
                <a:gd name="connsiteY1" fmla="*/ 39717 h 327083"/>
                <a:gd name="connsiteX2" fmla="*/ 1698625 w 5533551"/>
                <a:gd name="connsiteY2" fmla="*/ 1022 h 327083"/>
                <a:gd name="connsiteX3" fmla="*/ 2717800 w 5533551"/>
                <a:gd name="connsiteY3" fmla="*/ 39717 h 327083"/>
                <a:gd name="connsiteX4" fmla="*/ 3057525 w 5533551"/>
                <a:gd name="connsiteY4" fmla="*/ 1022 h 327083"/>
                <a:gd name="connsiteX5" fmla="*/ 4076700 w 5533551"/>
                <a:gd name="connsiteY5" fmla="*/ 39717 h 327083"/>
                <a:gd name="connsiteX6" fmla="*/ 5435600 w 5533551"/>
                <a:gd name="connsiteY6" fmla="*/ 39717 h 327083"/>
                <a:gd name="connsiteX7" fmla="*/ 5435600 w 5533551"/>
                <a:gd name="connsiteY7" fmla="*/ 287367 h 327083"/>
                <a:gd name="connsiteX8" fmla="*/ 4076700 w 5533551"/>
                <a:gd name="connsiteY8" fmla="*/ 287367 h 327083"/>
                <a:gd name="connsiteX9" fmla="*/ 2717800 w 5533551"/>
                <a:gd name="connsiteY9" fmla="*/ 287367 h 327083"/>
                <a:gd name="connsiteX10" fmla="*/ 1358900 w 5533551"/>
                <a:gd name="connsiteY10" fmla="*/ 287367 h 327083"/>
                <a:gd name="connsiteX11" fmla="*/ 0 w 5533551"/>
                <a:gd name="connsiteY11" fmla="*/ 287367 h 327083"/>
                <a:gd name="connsiteX12" fmla="*/ 0 w 5533551"/>
                <a:gd name="connsiteY12" fmla="*/ 39717 h 327083"/>
                <a:gd name="connsiteX13" fmla="*/ 339725 w 5533551"/>
                <a:gd name="connsiteY13" fmla="*/ 1022 h 32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33551" h="327083">
                  <a:moveTo>
                    <a:pt x="339725" y="1022"/>
                  </a:moveTo>
                  <a:cubicBezTo>
                    <a:pt x="679450" y="13920"/>
                    <a:pt x="1019175" y="142904"/>
                    <a:pt x="1358900" y="39717"/>
                  </a:cubicBezTo>
                  <a:cubicBezTo>
                    <a:pt x="1472142" y="5321"/>
                    <a:pt x="1585383" y="-3278"/>
                    <a:pt x="1698625" y="1022"/>
                  </a:cubicBezTo>
                  <a:cubicBezTo>
                    <a:pt x="2038350" y="13920"/>
                    <a:pt x="2378075" y="142904"/>
                    <a:pt x="2717800" y="39717"/>
                  </a:cubicBezTo>
                  <a:cubicBezTo>
                    <a:pt x="2831042" y="5321"/>
                    <a:pt x="2944283" y="-3278"/>
                    <a:pt x="3057525" y="1022"/>
                  </a:cubicBezTo>
                  <a:cubicBezTo>
                    <a:pt x="3397250" y="13920"/>
                    <a:pt x="3736975" y="142904"/>
                    <a:pt x="4076700" y="39717"/>
                  </a:cubicBezTo>
                  <a:cubicBezTo>
                    <a:pt x="4529667" y="-97866"/>
                    <a:pt x="4982633" y="177300"/>
                    <a:pt x="5435600" y="39717"/>
                  </a:cubicBezTo>
                  <a:cubicBezTo>
                    <a:pt x="5588433" y="89046"/>
                    <a:pt x="5541917" y="297846"/>
                    <a:pt x="5435600" y="287367"/>
                  </a:cubicBezTo>
                  <a:cubicBezTo>
                    <a:pt x="4982633" y="424950"/>
                    <a:pt x="4529667" y="149784"/>
                    <a:pt x="4076700" y="287367"/>
                  </a:cubicBezTo>
                  <a:cubicBezTo>
                    <a:pt x="3623733" y="424950"/>
                    <a:pt x="3170767" y="149784"/>
                    <a:pt x="2717800" y="287367"/>
                  </a:cubicBezTo>
                  <a:cubicBezTo>
                    <a:pt x="2264833" y="424950"/>
                    <a:pt x="1811867" y="149784"/>
                    <a:pt x="1358900" y="287367"/>
                  </a:cubicBezTo>
                  <a:cubicBezTo>
                    <a:pt x="905933" y="424950"/>
                    <a:pt x="452967" y="149784"/>
                    <a:pt x="0" y="287367"/>
                  </a:cubicBezTo>
                  <a:lnTo>
                    <a:pt x="0" y="39717"/>
                  </a:lnTo>
                  <a:cubicBezTo>
                    <a:pt x="113242" y="5321"/>
                    <a:pt x="226483" y="-3278"/>
                    <a:pt x="339725" y="102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13" name="Wave 8"/>
            <p:cNvSpPr/>
            <p:nvPr/>
          </p:nvSpPr>
          <p:spPr>
            <a:xfrm>
              <a:off x="3908425" y="4908839"/>
              <a:ext cx="1768475" cy="117211"/>
            </a:xfrm>
            <a:custGeom>
              <a:avLst/>
              <a:gdLst>
                <a:gd name="connsiteX0" fmla="*/ 339725 w 5497620"/>
                <a:gd name="connsiteY0" fmla="*/ 1022 h 327083"/>
                <a:gd name="connsiteX1" fmla="*/ 1358900 w 5497620"/>
                <a:gd name="connsiteY1" fmla="*/ 39717 h 327083"/>
                <a:gd name="connsiteX2" fmla="*/ 1698625 w 5497620"/>
                <a:gd name="connsiteY2" fmla="*/ 1022 h 327083"/>
                <a:gd name="connsiteX3" fmla="*/ 2717800 w 5497620"/>
                <a:gd name="connsiteY3" fmla="*/ 39717 h 327083"/>
                <a:gd name="connsiteX4" fmla="*/ 3057525 w 5497620"/>
                <a:gd name="connsiteY4" fmla="*/ 1022 h 327083"/>
                <a:gd name="connsiteX5" fmla="*/ 4076700 w 5497620"/>
                <a:gd name="connsiteY5" fmla="*/ 39717 h 327083"/>
                <a:gd name="connsiteX6" fmla="*/ 5435600 w 5497620"/>
                <a:gd name="connsiteY6" fmla="*/ 39717 h 327083"/>
                <a:gd name="connsiteX7" fmla="*/ 5435600 w 5497620"/>
                <a:gd name="connsiteY7" fmla="*/ 287367 h 327083"/>
                <a:gd name="connsiteX8" fmla="*/ 4076700 w 5497620"/>
                <a:gd name="connsiteY8" fmla="*/ 287367 h 327083"/>
                <a:gd name="connsiteX9" fmla="*/ 2717800 w 5497620"/>
                <a:gd name="connsiteY9" fmla="*/ 287367 h 327083"/>
                <a:gd name="connsiteX10" fmla="*/ 1358900 w 5497620"/>
                <a:gd name="connsiteY10" fmla="*/ 287367 h 327083"/>
                <a:gd name="connsiteX11" fmla="*/ 0 w 5497620"/>
                <a:gd name="connsiteY11" fmla="*/ 287367 h 327083"/>
                <a:gd name="connsiteX12" fmla="*/ 0 w 5497620"/>
                <a:gd name="connsiteY12" fmla="*/ 39717 h 327083"/>
                <a:gd name="connsiteX13" fmla="*/ 339725 w 5497620"/>
                <a:gd name="connsiteY13" fmla="*/ 1022 h 327083"/>
                <a:gd name="connsiteX0" fmla="*/ 339725 w 5521465"/>
                <a:gd name="connsiteY0" fmla="*/ 1022 h 327083"/>
                <a:gd name="connsiteX1" fmla="*/ 1358900 w 5521465"/>
                <a:gd name="connsiteY1" fmla="*/ 39717 h 327083"/>
                <a:gd name="connsiteX2" fmla="*/ 1698625 w 5521465"/>
                <a:gd name="connsiteY2" fmla="*/ 1022 h 327083"/>
                <a:gd name="connsiteX3" fmla="*/ 2717800 w 5521465"/>
                <a:gd name="connsiteY3" fmla="*/ 39717 h 327083"/>
                <a:gd name="connsiteX4" fmla="*/ 3057525 w 5521465"/>
                <a:gd name="connsiteY4" fmla="*/ 1022 h 327083"/>
                <a:gd name="connsiteX5" fmla="*/ 4076700 w 5521465"/>
                <a:gd name="connsiteY5" fmla="*/ 39717 h 327083"/>
                <a:gd name="connsiteX6" fmla="*/ 5435600 w 5521465"/>
                <a:gd name="connsiteY6" fmla="*/ 39717 h 327083"/>
                <a:gd name="connsiteX7" fmla="*/ 5435600 w 5521465"/>
                <a:gd name="connsiteY7" fmla="*/ 287367 h 327083"/>
                <a:gd name="connsiteX8" fmla="*/ 4076700 w 5521465"/>
                <a:gd name="connsiteY8" fmla="*/ 287367 h 327083"/>
                <a:gd name="connsiteX9" fmla="*/ 2717800 w 5521465"/>
                <a:gd name="connsiteY9" fmla="*/ 287367 h 327083"/>
                <a:gd name="connsiteX10" fmla="*/ 1358900 w 5521465"/>
                <a:gd name="connsiteY10" fmla="*/ 287367 h 327083"/>
                <a:gd name="connsiteX11" fmla="*/ 0 w 5521465"/>
                <a:gd name="connsiteY11" fmla="*/ 287367 h 327083"/>
                <a:gd name="connsiteX12" fmla="*/ 0 w 5521465"/>
                <a:gd name="connsiteY12" fmla="*/ 39717 h 327083"/>
                <a:gd name="connsiteX13" fmla="*/ 339725 w 5521465"/>
                <a:gd name="connsiteY13" fmla="*/ 1022 h 327083"/>
                <a:gd name="connsiteX0" fmla="*/ 339725 w 5526976"/>
                <a:gd name="connsiteY0" fmla="*/ 1022 h 327083"/>
                <a:gd name="connsiteX1" fmla="*/ 1358900 w 5526976"/>
                <a:gd name="connsiteY1" fmla="*/ 39717 h 327083"/>
                <a:gd name="connsiteX2" fmla="*/ 1698625 w 5526976"/>
                <a:gd name="connsiteY2" fmla="*/ 1022 h 327083"/>
                <a:gd name="connsiteX3" fmla="*/ 2717800 w 5526976"/>
                <a:gd name="connsiteY3" fmla="*/ 39717 h 327083"/>
                <a:gd name="connsiteX4" fmla="*/ 3057525 w 5526976"/>
                <a:gd name="connsiteY4" fmla="*/ 1022 h 327083"/>
                <a:gd name="connsiteX5" fmla="*/ 4076700 w 5526976"/>
                <a:gd name="connsiteY5" fmla="*/ 39717 h 327083"/>
                <a:gd name="connsiteX6" fmla="*/ 5435600 w 5526976"/>
                <a:gd name="connsiteY6" fmla="*/ 39717 h 327083"/>
                <a:gd name="connsiteX7" fmla="*/ 5435600 w 5526976"/>
                <a:gd name="connsiteY7" fmla="*/ 287367 h 327083"/>
                <a:gd name="connsiteX8" fmla="*/ 4076700 w 5526976"/>
                <a:gd name="connsiteY8" fmla="*/ 287367 h 327083"/>
                <a:gd name="connsiteX9" fmla="*/ 2717800 w 5526976"/>
                <a:gd name="connsiteY9" fmla="*/ 287367 h 327083"/>
                <a:gd name="connsiteX10" fmla="*/ 1358900 w 5526976"/>
                <a:gd name="connsiteY10" fmla="*/ 287367 h 327083"/>
                <a:gd name="connsiteX11" fmla="*/ 0 w 5526976"/>
                <a:gd name="connsiteY11" fmla="*/ 287367 h 327083"/>
                <a:gd name="connsiteX12" fmla="*/ 0 w 5526976"/>
                <a:gd name="connsiteY12" fmla="*/ 39717 h 327083"/>
                <a:gd name="connsiteX13" fmla="*/ 339725 w 5526976"/>
                <a:gd name="connsiteY13" fmla="*/ 1022 h 327083"/>
                <a:gd name="connsiteX0" fmla="*/ 339725 w 5533551"/>
                <a:gd name="connsiteY0" fmla="*/ 1022 h 327083"/>
                <a:gd name="connsiteX1" fmla="*/ 1358900 w 5533551"/>
                <a:gd name="connsiteY1" fmla="*/ 39717 h 327083"/>
                <a:gd name="connsiteX2" fmla="*/ 1698625 w 5533551"/>
                <a:gd name="connsiteY2" fmla="*/ 1022 h 327083"/>
                <a:gd name="connsiteX3" fmla="*/ 2717800 w 5533551"/>
                <a:gd name="connsiteY3" fmla="*/ 39717 h 327083"/>
                <a:gd name="connsiteX4" fmla="*/ 3057525 w 5533551"/>
                <a:gd name="connsiteY4" fmla="*/ 1022 h 327083"/>
                <a:gd name="connsiteX5" fmla="*/ 4076700 w 5533551"/>
                <a:gd name="connsiteY5" fmla="*/ 39717 h 327083"/>
                <a:gd name="connsiteX6" fmla="*/ 5435600 w 5533551"/>
                <a:gd name="connsiteY6" fmla="*/ 39717 h 327083"/>
                <a:gd name="connsiteX7" fmla="*/ 5435600 w 5533551"/>
                <a:gd name="connsiteY7" fmla="*/ 287367 h 327083"/>
                <a:gd name="connsiteX8" fmla="*/ 4076700 w 5533551"/>
                <a:gd name="connsiteY8" fmla="*/ 287367 h 327083"/>
                <a:gd name="connsiteX9" fmla="*/ 2717800 w 5533551"/>
                <a:gd name="connsiteY9" fmla="*/ 287367 h 327083"/>
                <a:gd name="connsiteX10" fmla="*/ 1358900 w 5533551"/>
                <a:gd name="connsiteY10" fmla="*/ 287367 h 327083"/>
                <a:gd name="connsiteX11" fmla="*/ 0 w 5533551"/>
                <a:gd name="connsiteY11" fmla="*/ 287367 h 327083"/>
                <a:gd name="connsiteX12" fmla="*/ 0 w 5533551"/>
                <a:gd name="connsiteY12" fmla="*/ 39717 h 327083"/>
                <a:gd name="connsiteX13" fmla="*/ 339725 w 5533551"/>
                <a:gd name="connsiteY13" fmla="*/ 1022 h 32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33551" h="327083">
                  <a:moveTo>
                    <a:pt x="339725" y="1022"/>
                  </a:moveTo>
                  <a:cubicBezTo>
                    <a:pt x="679450" y="13920"/>
                    <a:pt x="1019175" y="142904"/>
                    <a:pt x="1358900" y="39717"/>
                  </a:cubicBezTo>
                  <a:cubicBezTo>
                    <a:pt x="1472142" y="5321"/>
                    <a:pt x="1585383" y="-3278"/>
                    <a:pt x="1698625" y="1022"/>
                  </a:cubicBezTo>
                  <a:cubicBezTo>
                    <a:pt x="2038350" y="13920"/>
                    <a:pt x="2378075" y="142904"/>
                    <a:pt x="2717800" y="39717"/>
                  </a:cubicBezTo>
                  <a:cubicBezTo>
                    <a:pt x="2831042" y="5321"/>
                    <a:pt x="2944283" y="-3278"/>
                    <a:pt x="3057525" y="1022"/>
                  </a:cubicBezTo>
                  <a:cubicBezTo>
                    <a:pt x="3397250" y="13920"/>
                    <a:pt x="3736975" y="142904"/>
                    <a:pt x="4076700" y="39717"/>
                  </a:cubicBezTo>
                  <a:cubicBezTo>
                    <a:pt x="4529667" y="-97866"/>
                    <a:pt x="4982633" y="177300"/>
                    <a:pt x="5435600" y="39717"/>
                  </a:cubicBezTo>
                  <a:cubicBezTo>
                    <a:pt x="5588433" y="89046"/>
                    <a:pt x="5541917" y="297846"/>
                    <a:pt x="5435600" y="287367"/>
                  </a:cubicBezTo>
                  <a:cubicBezTo>
                    <a:pt x="4982633" y="424950"/>
                    <a:pt x="4529667" y="149784"/>
                    <a:pt x="4076700" y="287367"/>
                  </a:cubicBezTo>
                  <a:cubicBezTo>
                    <a:pt x="3623733" y="424950"/>
                    <a:pt x="3170767" y="149784"/>
                    <a:pt x="2717800" y="287367"/>
                  </a:cubicBezTo>
                  <a:cubicBezTo>
                    <a:pt x="2264833" y="424950"/>
                    <a:pt x="1811867" y="149784"/>
                    <a:pt x="1358900" y="287367"/>
                  </a:cubicBezTo>
                  <a:cubicBezTo>
                    <a:pt x="905933" y="424950"/>
                    <a:pt x="452967" y="149784"/>
                    <a:pt x="0" y="287367"/>
                  </a:cubicBezTo>
                  <a:lnTo>
                    <a:pt x="0" y="39717"/>
                  </a:lnTo>
                  <a:cubicBezTo>
                    <a:pt x="113242" y="5321"/>
                    <a:pt x="226483" y="-3278"/>
                    <a:pt x="339725" y="102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sp>
        <p:nvSpPr>
          <p:cNvPr id="130" name="Donut 80"/>
          <p:cNvSpPr/>
          <p:nvPr/>
        </p:nvSpPr>
        <p:spPr bwMode="auto">
          <a:xfrm>
            <a:off x="1276656" y="4567728"/>
            <a:ext cx="1072108" cy="855721"/>
          </a:xfrm>
          <a:custGeom>
            <a:avLst/>
            <a:gdLst/>
            <a:ahLst/>
            <a:cxnLst/>
            <a:rect l="l" t="t" r="r" b="b"/>
            <a:pathLst>
              <a:path w="4812161" h="3840901">
                <a:moveTo>
                  <a:pt x="3296159" y="2000287"/>
                </a:moveTo>
                <a:cubicBezTo>
                  <a:pt x="3116881" y="2000287"/>
                  <a:pt x="2971547" y="2145621"/>
                  <a:pt x="2971547" y="2324899"/>
                </a:cubicBezTo>
                <a:cubicBezTo>
                  <a:pt x="2971547" y="2504177"/>
                  <a:pt x="3116881" y="2649511"/>
                  <a:pt x="3296159" y="2649511"/>
                </a:cubicBezTo>
                <a:cubicBezTo>
                  <a:pt x="3475437" y="2649511"/>
                  <a:pt x="3620771" y="2504177"/>
                  <a:pt x="3620771" y="2324899"/>
                </a:cubicBezTo>
                <a:cubicBezTo>
                  <a:pt x="3620771" y="2145621"/>
                  <a:pt x="3475437" y="2000287"/>
                  <a:pt x="3296159" y="2000287"/>
                </a:cubicBezTo>
                <a:close/>
                <a:moveTo>
                  <a:pt x="3296159" y="1675675"/>
                </a:moveTo>
                <a:cubicBezTo>
                  <a:pt x="3654716" y="1675675"/>
                  <a:pt x="3945383" y="1966342"/>
                  <a:pt x="3945383" y="2324899"/>
                </a:cubicBezTo>
                <a:cubicBezTo>
                  <a:pt x="3945383" y="2683456"/>
                  <a:pt x="3654716" y="2974123"/>
                  <a:pt x="3296159" y="2974123"/>
                </a:cubicBezTo>
                <a:cubicBezTo>
                  <a:pt x="2937602" y="2974123"/>
                  <a:pt x="2646935" y="2683456"/>
                  <a:pt x="2646935" y="2324899"/>
                </a:cubicBezTo>
                <a:cubicBezTo>
                  <a:pt x="2646935" y="1966342"/>
                  <a:pt x="2937602" y="1675675"/>
                  <a:pt x="3296159" y="1675675"/>
                </a:cubicBezTo>
                <a:close/>
                <a:moveTo>
                  <a:pt x="3296159" y="1420210"/>
                </a:moveTo>
                <a:cubicBezTo>
                  <a:pt x="2796513" y="1420210"/>
                  <a:pt x="2391470" y="1825253"/>
                  <a:pt x="2391470" y="2324899"/>
                </a:cubicBezTo>
                <a:cubicBezTo>
                  <a:pt x="2391470" y="2824545"/>
                  <a:pt x="2796513" y="3229588"/>
                  <a:pt x="3296159" y="3229588"/>
                </a:cubicBezTo>
                <a:cubicBezTo>
                  <a:pt x="3795805" y="3229588"/>
                  <a:pt x="4200848" y="2824545"/>
                  <a:pt x="4200848" y="2324899"/>
                </a:cubicBezTo>
                <a:cubicBezTo>
                  <a:pt x="4200848" y="1825253"/>
                  <a:pt x="3795805" y="1420210"/>
                  <a:pt x="3296159" y="1420210"/>
                </a:cubicBezTo>
                <a:close/>
                <a:moveTo>
                  <a:pt x="3296159" y="808897"/>
                </a:moveTo>
                <a:cubicBezTo>
                  <a:pt x="3370288" y="808897"/>
                  <a:pt x="3443173" y="814218"/>
                  <a:pt x="3514208" y="826185"/>
                </a:cubicBezTo>
                <a:cubicBezTo>
                  <a:pt x="3590275" y="1345671"/>
                  <a:pt x="4110542" y="1236614"/>
                  <a:pt x="4171519" y="1171489"/>
                </a:cubicBezTo>
                <a:lnTo>
                  <a:pt x="4215967" y="1123398"/>
                </a:lnTo>
                <a:cubicBezTo>
                  <a:pt x="4326392" y="1205433"/>
                  <a:pt x="4423576" y="1303917"/>
                  <a:pt x="4506024" y="1414131"/>
                </a:cubicBezTo>
                <a:cubicBezTo>
                  <a:pt x="4193319" y="1914120"/>
                  <a:pt x="4701014" y="2151102"/>
                  <a:pt x="4799529" y="2138412"/>
                </a:cubicBezTo>
                <a:cubicBezTo>
                  <a:pt x="4808295" y="2199419"/>
                  <a:pt x="4812161" y="2261708"/>
                  <a:pt x="4812161" y="2324899"/>
                </a:cubicBezTo>
                <a:cubicBezTo>
                  <a:pt x="4812161" y="2388615"/>
                  <a:pt x="4808231" y="2451413"/>
                  <a:pt x="4799054" y="2512849"/>
                </a:cubicBezTo>
                <a:cubicBezTo>
                  <a:pt x="4788113" y="2515889"/>
                  <a:pt x="4778304" y="2519618"/>
                  <a:pt x="4769770" y="2523906"/>
                </a:cubicBezTo>
                <a:lnTo>
                  <a:pt x="4769199" y="2523774"/>
                </a:lnTo>
                <a:cubicBezTo>
                  <a:pt x="4276600" y="2692966"/>
                  <a:pt x="4408190" y="3103551"/>
                  <a:pt x="4504674" y="3235631"/>
                </a:cubicBezTo>
                <a:cubicBezTo>
                  <a:pt x="4424185" y="3345698"/>
                  <a:pt x="4327453" y="3442859"/>
                  <a:pt x="4219101" y="3525661"/>
                </a:cubicBezTo>
                <a:cubicBezTo>
                  <a:pt x="3740127" y="3239817"/>
                  <a:pt x="3508490" y="3714698"/>
                  <a:pt x="3512861" y="3823658"/>
                </a:cubicBezTo>
                <a:cubicBezTo>
                  <a:pt x="3442266" y="3835647"/>
                  <a:pt x="3369826" y="3840901"/>
                  <a:pt x="3296159" y="3840901"/>
                </a:cubicBezTo>
                <a:cubicBezTo>
                  <a:pt x="3223977" y="3840901"/>
                  <a:pt x="3152974" y="3835857"/>
                  <a:pt x="3083692" y="3824633"/>
                </a:cubicBezTo>
                <a:cubicBezTo>
                  <a:pt x="2945132" y="3289289"/>
                  <a:pt x="2478158" y="3436602"/>
                  <a:pt x="2372141" y="3523198"/>
                </a:cubicBezTo>
                <a:cubicBezTo>
                  <a:pt x="2262805" y="3441349"/>
                  <a:pt x="2166565" y="3343329"/>
                  <a:pt x="2084868" y="3233760"/>
                </a:cubicBezTo>
                <a:cubicBezTo>
                  <a:pt x="2372460" y="2758314"/>
                  <a:pt x="1912484" y="2524914"/>
                  <a:pt x="1794482" y="2522480"/>
                </a:cubicBezTo>
                <a:cubicBezTo>
                  <a:pt x="1784508" y="2457948"/>
                  <a:pt x="1780157" y="2391932"/>
                  <a:pt x="1780157" y="2324899"/>
                </a:cubicBezTo>
                <a:cubicBezTo>
                  <a:pt x="1780157" y="2258743"/>
                  <a:pt x="1784395" y="2193577"/>
                  <a:pt x="1793487" y="2129772"/>
                </a:cubicBezTo>
                <a:cubicBezTo>
                  <a:pt x="2324943" y="2022144"/>
                  <a:pt x="2174743" y="1501516"/>
                  <a:pt x="2104500" y="1445028"/>
                </a:cubicBezTo>
                <a:lnTo>
                  <a:pt x="2079323" y="1425048"/>
                </a:lnTo>
                <a:cubicBezTo>
                  <a:pt x="2158206" y="1315063"/>
                  <a:pt x="2253175" y="1217660"/>
                  <a:pt x="2359684" y="1134258"/>
                </a:cubicBezTo>
                <a:cubicBezTo>
                  <a:pt x="2861568" y="1444701"/>
                  <a:pt x="3096870" y="926345"/>
                  <a:pt x="3079479" y="835441"/>
                </a:cubicBezTo>
                <a:lnTo>
                  <a:pt x="3077691" y="826410"/>
                </a:lnTo>
                <a:cubicBezTo>
                  <a:pt x="3148845" y="814239"/>
                  <a:pt x="3221878" y="808897"/>
                  <a:pt x="3296159" y="808897"/>
                </a:cubicBezTo>
                <a:close/>
                <a:moveTo>
                  <a:pt x="1005840" y="789098"/>
                </a:moveTo>
                <a:cubicBezTo>
                  <a:pt x="886892" y="789098"/>
                  <a:pt x="790466" y="885357"/>
                  <a:pt x="790466" y="1004099"/>
                </a:cubicBezTo>
                <a:cubicBezTo>
                  <a:pt x="790466" y="1122841"/>
                  <a:pt x="886892" y="1219101"/>
                  <a:pt x="1005840" y="1219101"/>
                </a:cubicBezTo>
                <a:cubicBezTo>
                  <a:pt x="1124788" y="1219101"/>
                  <a:pt x="1221214" y="1122841"/>
                  <a:pt x="1221214" y="1004099"/>
                </a:cubicBezTo>
                <a:cubicBezTo>
                  <a:pt x="1221214" y="885357"/>
                  <a:pt x="1124788" y="789098"/>
                  <a:pt x="1005840" y="789098"/>
                </a:cubicBezTo>
                <a:close/>
                <a:moveTo>
                  <a:pt x="1005840" y="574096"/>
                </a:moveTo>
                <a:cubicBezTo>
                  <a:pt x="1243736" y="574096"/>
                  <a:pt x="1436589" y="766615"/>
                  <a:pt x="1436589" y="1004099"/>
                </a:cubicBezTo>
                <a:cubicBezTo>
                  <a:pt x="1436589" y="1241584"/>
                  <a:pt x="1243736" y="1434102"/>
                  <a:pt x="1005840" y="1434102"/>
                </a:cubicBezTo>
                <a:cubicBezTo>
                  <a:pt x="767944" y="1434102"/>
                  <a:pt x="575092" y="1241584"/>
                  <a:pt x="575092" y="1004099"/>
                </a:cubicBezTo>
                <a:cubicBezTo>
                  <a:pt x="575092" y="766615"/>
                  <a:pt x="767944" y="574096"/>
                  <a:pt x="1005840" y="574096"/>
                </a:cubicBezTo>
                <a:close/>
                <a:moveTo>
                  <a:pt x="1005840" y="404893"/>
                </a:moveTo>
                <a:cubicBezTo>
                  <a:pt x="674334" y="404893"/>
                  <a:pt x="405595" y="673167"/>
                  <a:pt x="405595" y="1004099"/>
                </a:cubicBezTo>
                <a:cubicBezTo>
                  <a:pt x="405595" y="1335031"/>
                  <a:pt x="674334" y="1603305"/>
                  <a:pt x="1005840" y="1603305"/>
                </a:cubicBezTo>
                <a:cubicBezTo>
                  <a:pt x="1337346" y="1603305"/>
                  <a:pt x="1606085" y="1335031"/>
                  <a:pt x="1606085" y="1004099"/>
                </a:cubicBezTo>
                <a:cubicBezTo>
                  <a:pt x="1606085" y="673167"/>
                  <a:pt x="1337346" y="404893"/>
                  <a:pt x="1005840" y="404893"/>
                </a:cubicBezTo>
                <a:close/>
                <a:moveTo>
                  <a:pt x="1005840" y="0"/>
                </a:moveTo>
                <a:cubicBezTo>
                  <a:pt x="1055023" y="0"/>
                  <a:pt x="1103381" y="3524"/>
                  <a:pt x="1150512" y="11450"/>
                </a:cubicBezTo>
                <a:cubicBezTo>
                  <a:pt x="1200981" y="355524"/>
                  <a:pt x="1546169" y="283291"/>
                  <a:pt x="1586626" y="240157"/>
                </a:cubicBezTo>
                <a:lnTo>
                  <a:pt x="1616116" y="208305"/>
                </a:lnTo>
                <a:cubicBezTo>
                  <a:pt x="1689381" y="262639"/>
                  <a:pt x="1753861" y="327868"/>
                  <a:pt x="1808564" y="400867"/>
                </a:cubicBezTo>
                <a:cubicBezTo>
                  <a:pt x="1601090" y="732026"/>
                  <a:pt x="1937936" y="888988"/>
                  <a:pt x="2003299" y="880583"/>
                </a:cubicBezTo>
                <a:cubicBezTo>
                  <a:pt x="2009115" y="920990"/>
                  <a:pt x="2011680" y="962246"/>
                  <a:pt x="2011680" y="1004099"/>
                </a:cubicBezTo>
                <a:cubicBezTo>
                  <a:pt x="2011680" y="1046300"/>
                  <a:pt x="2009073" y="1087894"/>
                  <a:pt x="2002984" y="1128585"/>
                </a:cubicBezTo>
                <a:cubicBezTo>
                  <a:pt x="1995725" y="1130598"/>
                  <a:pt x="1989217" y="1133068"/>
                  <a:pt x="1983554" y="1135908"/>
                </a:cubicBezTo>
                <a:lnTo>
                  <a:pt x="1983176" y="1135821"/>
                </a:lnTo>
                <a:cubicBezTo>
                  <a:pt x="1656345" y="1247882"/>
                  <a:pt x="1743653" y="1519827"/>
                  <a:pt x="1807668" y="1607308"/>
                </a:cubicBezTo>
                <a:cubicBezTo>
                  <a:pt x="1754265" y="1680209"/>
                  <a:pt x="1690085" y="1744562"/>
                  <a:pt x="1618196" y="1799404"/>
                </a:cubicBezTo>
                <a:cubicBezTo>
                  <a:pt x="1300405" y="1610080"/>
                  <a:pt x="1146718" y="1924610"/>
                  <a:pt x="1149618" y="1996778"/>
                </a:cubicBezTo>
                <a:cubicBezTo>
                  <a:pt x="1102780" y="2004718"/>
                  <a:pt x="1054717" y="2008198"/>
                  <a:pt x="1005840" y="2008198"/>
                </a:cubicBezTo>
                <a:cubicBezTo>
                  <a:pt x="957949" y="2008198"/>
                  <a:pt x="910840" y="2004857"/>
                  <a:pt x="864872" y="1997423"/>
                </a:cubicBezTo>
                <a:cubicBezTo>
                  <a:pt x="772940" y="1642847"/>
                  <a:pt x="463111" y="1740417"/>
                  <a:pt x="392771" y="1797773"/>
                </a:cubicBezTo>
                <a:cubicBezTo>
                  <a:pt x="320228" y="1743561"/>
                  <a:pt x="256375" y="1678640"/>
                  <a:pt x="202170" y="1606068"/>
                </a:cubicBezTo>
                <a:cubicBezTo>
                  <a:pt x="392982" y="1291164"/>
                  <a:pt x="87797" y="1136576"/>
                  <a:pt x="9505" y="1134964"/>
                </a:cubicBezTo>
                <a:cubicBezTo>
                  <a:pt x="2887" y="1092222"/>
                  <a:pt x="0" y="1048497"/>
                  <a:pt x="0" y="1004099"/>
                </a:cubicBezTo>
                <a:cubicBezTo>
                  <a:pt x="0" y="960282"/>
                  <a:pt x="2812" y="917120"/>
                  <a:pt x="8844" y="874860"/>
                </a:cubicBezTo>
                <a:cubicBezTo>
                  <a:pt x="361456" y="803574"/>
                  <a:pt x="261801" y="458745"/>
                  <a:pt x="215196" y="421331"/>
                </a:cubicBezTo>
                <a:lnTo>
                  <a:pt x="198491" y="408098"/>
                </a:lnTo>
                <a:cubicBezTo>
                  <a:pt x="250829" y="335251"/>
                  <a:pt x="313839" y="270738"/>
                  <a:pt x="384506" y="215498"/>
                </a:cubicBezTo>
                <a:cubicBezTo>
                  <a:pt x="717497" y="421114"/>
                  <a:pt x="873616" y="77790"/>
                  <a:pt x="862077" y="17581"/>
                </a:cubicBezTo>
                <a:lnTo>
                  <a:pt x="860891" y="11600"/>
                </a:lnTo>
                <a:cubicBezTo>
                  <a:pt x="908100" y="3538"/>
                  <a:pt x="956556" y="0"/>
                  <a:pt x="1005840" y="0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1400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4" name="Round Diagonal Corner Rectangle 53"/>
          <p:cNvSpPr/>
          <p:nvPr/>
        </p:nvSpPr>
        <p:spPr bwMode="auto">
          <a:xfrm flipH="1">
            <a:off x="3437500" y="3169792"/>
            <a:ext cx="400899" cy="456326"/>
          </a:xfrm>
          <a:custGeom>
            <a:avLst/>
            <a:gdLst/>
            <a:ahLst/>
            <a:cxnLst/>
            <a:rect l="l" t="t" r="r" b="b"/>
            <a:pathLst>
              <a:path w="1069848" h="1217762">
                <a:moveTo>
                  <a:pt x="859964" y="887952"/>
                </a:moveTo>
                <a:cubicBezTo>
                  <a:pt x="859964" y="887952"/>
                  <a:pt x="859964" y="887952"/>
                  <a:pt x="859964" y="887953"/>
                </a:cubicBezTo>
                <a:lnTo>
                  <a:pt x="859964" y="887953"/>
                </a:lnTo>
                <a:close/>
                <a:moveTo>
                  <a:pt x="823054" y="851043"/>
                </a:moveTo>
                <a:lnTo>
                  <a:pt x="246792" y="851043"/>
                </a:lnTo>
                <a:cubicBezTo>
                  <a:pt x="226407" y="851043"/>
                  <a:pt x="209882" y="867568"/>
                  <a:pt x="209882" y="887953"/>
                </a:cubicBezTo>
                <a:lnTo>
                  <a:pt x="209883" y="887953"/>
                </a:lnTo>
                <a:cubicBezTo>
                  <a:pt x="209883" y="908338"/>
                  <a:pt x="226408" y="924863"/>
                  <a:pt x="246793" y="924863"/>
                </a:cubicBezTo>
                <a:lnTo>
                  <a:pt x="823054" y="924862"/>
                </a:lnTo>
                <a:cubicBezTo>
                  <a:pt x="843439" y="924862"/>
                  <a:pt x="859964" y="908337"/>
                  <a:pt x="859964" y="887953"/>
                </a:cubicBezTo>
                <a:cubicBezTo>
                  <a:pt x="859964" y="867568"/>
                  <a:pt x="843439" y="851043"/>
                  <a:pt x="823054" y="851043"/>
                </a:cubicBezTo>
                <a:close/>
                <a:moveTo>
                  <a:pt x="859964" y="716502"/>
                </a:moveTo>
                <a:lnTo>
                  <a:pt x="859964" y="716503"/>
                </a:lnTo>
                <a:lnTo>
                  <a:pt x="859964" y="716503"/>
                </a:lnTo>
                <a:close/>
                <a:moveTo>
                  <a:pt x="823054" y="679593"/>
                </a:moveTo>
                <a:lnTo>
                  <a:pt x="246792" y="679593"/>
                </a:lnTo>
                <a:cubicBezTo>
                  <a:pt x="226407" y="679593"/>
                  <a:pt x="209882" y="696118"/>
                  <a:pt x="209882" y="716503"/>
                </a:cubicBezTo>
                <a:lnTo>
                  <a:pt x="209883" y="716503"/>
                </a:lnTo>
                <a:cubicBezTo>
                  <a:pt x="209883" y="736888"/>
                  <a:pt x="226408" y="753413"/>
                  <a:pt x="246793" y="753413"/>
                </a:cubicBezTo>
                <a:lnTo>
                  <a:pt x="823054" y="753412"/>
                </a:lnTo>
                <a:cubicBezTo>
                  <a:pt x="843439" y="753412"/>
                  <a:pt x="859964" y="736887"/>
                  <a:pt x="859964" y="716503"/>
                </a:cubicBezTo>
                <a:cubicBezTo>
                  <a:pt x="859964" y="696118"/>
                  <a:pt x="843439" y="679593"/>
                  <a:pt x="823054" y="679593"/>
                </a:cubicBezTo>
                <a:close/>
                <a:moveTo>
                  <a:pt x="859964" y="545051"/>
                </a:moveTo>
                <a:lnTo>
                  <a:pt x="859964" y="545052"/>
                </a:lnTo>
                <a:lnTo>
                  <a:pt x="859964" y="545052"/>
                </a:lnTo>
                <a:close/>
                <a:moveTo>
                  <a:pt x="823054" y="508142"/>
                </a:moveTo>
                <a:lnTo>
                  <a:pt x="246792" y="508142"/>
                </a:lnTo>
                <a:cubicBezTo>
                  <a:pt x="226407" y="508142"/>
                  <a:pt x="209882" y="524667"/>
                  <a:pt x="209882" y="545052"/>
                </a:cubicBezTo>
                <a:lnTo>
                  <a:pt x="209883" y="545052"/>
                </a:lnTo>
                <a:cubicBezTo>
                  <a:pt x="209883" y="565437"/>
                  <a:pt x="226408" y="581962"/>
                  <a:pt x="246793" y="581962"/>
                </a:cubicBezTo>
                <a:lnTo>
                  <a:pt x="823054" y="581961"/>
                </a:lnTo>
                <a:cubicBezTo>
                  <a:pt x="843439" y="581961"/>
                  <a:pt x="859964" y="565436"/>
                  <a:pt x="859964" y="545052"/>
                </a:cubicBezTo>
                <a:cubicBezTo>
                  <a:pt x="859964" y="524667"/>
                  <a:pt x="843439" y="508142"/>
                  <a:pt x="823054" y="508142"/>
                </a:cubicBezTo>
                <a:close/>
                <a:moveTo>
                  <a:pt x="607552" y="375982"/>
                </a:moveTo>
                <a:lnTo>
                  <a:pt x="607552" y="375983"/>
                </a:lnTo>
                <a:lnTo>
                  <a:pt x="607552" y="375983"/>
                </a:lnTo>
                <a:close/>
                <a:moveTo>
                  <a:pt x="570642" y="339073"/>
                </a:moveTo>
                <a:lnTo>
                  <a:pt x="246792" y="339073"/>
                </a:lnTo>
                <a:cubicBezTo>
                  <a:pt x="226407" y="339073"/>
                  <a:pt x="209882" y="355598"/>
                  <a:pt x="209882" y="375983"/>
                </a:cubicBezTo>
                <a:lnTo>
                  <a:pt x="209883" y="375983"/>
                </a:lnTo>
                <a:cubicBezTo>
                  <a:pt x="209883" y="396368"/>
                  <a:pt x="226408" y="412893"/>
                  <a:pt x="246793" y="412893"/>
                </a:cubicBezTo>
                <a:lnTo>
                  <a:pt x="570642" y="412892"/>
                </a:lnTo>
                <a:cubicBezTo>
                  <a:pt x="591027" y="412892"/>
                  <a:pt x="607552" y="396367"/>
                  <a:pt x="607552" y="375983"/>
                </a:cubicBezTo>
                <a:cubicBezTo>
                  <a:pt x="607552" y="355598"/>
                  <a:pt x="591027" y="339073"/>
                  <a:pt x="570642" y="339073"/>
                </a:cubicBezTo>
                <a:close/>
                <a:moveTo>
                  <a:pt x="679213" y="74747"/>
                </a:moveTo>
                <a:lnTo>
                  <a:pt x="679213" y="291168"/>
                </a:lnTo>
                <a:cubicBezTo>
                  <a:pt x="679213" y="325515"/>
                  <a:pt x="707057" y="353359"/>
                  <a:pt x="741404" y="353359"/>
                </a:cubicBezTo>
                <a:lnTo>
                  <a:pt x="992124" y="353359"/>
                </a:lnTo>
                <a:lnTo>
                  <a:pt x="992124" y="1044200"/>
                </a:lnTo>
                <a:cubicBezTo>
                  <a:pt x="992124" y="1097470"/>
                  <a:pt x="971294" y="1150179"/>
                  <a:pt x="897731" y="1140654"/>
                </a:cubicBezTo>
                <a:lnTo>
                  <a:pt x="77724" y="1140654"/>
                </a:lnTo>
                <a:lnTo>
                  <a:pt x="77724" y="173562"/>
                </a:lnTo>
                <a:cubicBezTo>
                  <a:pt x="80105" y="89336"/>
                  <a:pt x="119986" y="77108"/>
                  <a:pt x="172117" y="77108"/>
                </a:cubicBezTo>
                <a:close/>
                <a:moveTo>
                  <a:pt x="733418" y="0"/>
                </a:moveTo>
                <a:lnTo>
                  <a:pt x="110440" y="0"/>
                </a:lnTo>
                <a:cubicBezTo>
                  <a:pt x="49446" y="0"/>
                  <a:pt x="0" y="49446"/>
                  <a:pt x="0" y="110440"/>
                </a:cubicBezTo>
                <a:lnTo>
                  <a:pt x="0" y="1217762"/>
                </a:lnTo>
                <a:lnTo>
                  <a:pt x="959408" y="1217762"/>
                </a:lnTo>
                <a:cubicBezTo>
                  <a:pt x="1020402" y="1217762"/>
                  <a:pt x="1069848" y="1168316"/>
                  <a:pt x="1069848" y="1107322"/>
                </a:cubicBezTo>
                <a:lnTo>
                  <a:pt x="1069848" y="310551"/>
                </a:lnTo>
                <a:close/>
              </a:path>
            </a:pathLst>
          </a:custGeom>
          <a:solidFill>
            <a:srgbClr val="66666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1400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Freeform: Shape 30"/>
          <p:cNvSpPr/>
          <p:nvPr/>
        </p:nvSpPr>
        <p:spPr>
          <a:xfrm>
            <a:off x="7224851" y="3200402"/>
            <a:ext cx="3129915" cy="1156306"/>
          </a:xfrm>
          <a:custGeom>
            <a:avLst/>
            <a:gdLst>
              <a:gd name="connsiteX0" fmla="*/ 3076575 w 3076575"/>
              <a:gd name="connsiteY0" fmla="*/ 0 h 1914525"/>
              <a:gd name="connsiteX1" fmla="*/ 3076575 w 3076575"/>
              <a:gd name="connsiteY1" fmla="*/ 1914525 h 1914525"/>
              <a:gd name="connsiteX2" fmla="*/ 0 w 3076575"/>
              <a:gd name="connsiteY2" fmla="*/ 1914525 h 1914525"/>
              <a:gd name="connsiteX3" fmla="*/ 0 w 3076575"/>
              <a:gd name="connsiteY3" fmla="*/ 238125 h 191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6575" h="1914525">
                <a:moveTo>
                  <a:pt x="3076575" y="0"/>
                </a:moveTo>
                <a:lnTo>
                  <a:pt x="3076575" y="1914525"/>
                </a:lnTo>
                <a:lnTo>
                  <a:pt x="0" y="1914525"/>
                </a:lnTo>
                <a:lnTo>
                  <a:pt x="0" y="238125"/>
                </a:lnTo>
              </a:path>
            </a:pathLst>
          </a:custGeom>
          <a:ln w="15875">
            <a:solidFill>
              <a:srgbClr val="0074AF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Freeform: Shape 139"/>
          <p:cNvSpPr/>
          <p:nvPr/>
        </p:nvSpPr>
        <p:spPr>
          <a:xfrm>
            <a:off x="7015163" y="3200401"/>
            <a:ext cx="3490912" cy="2133600"/>
          </a:xfrm>
          <a:custGeom>
            <a:avLst/>
            <a:gdLst>
              <a:gd name="connsiteX0" fmla="*/ 3490912 w 3490912"/>
              <a:gd name="connsiteY0" fmla="*/ 0 h 2124075"/>
              <a:gd name="connsiteX1" fmla="*/ 3490912 w 3490912"/>
              <a:gd name="connsiteY1" fmla="*/ 2124075 h 2124075"/>
              <a:gd name="connsiteX2" fmla="*/ 0 w 3490912"/>
              <a:gd name="connsiteY2" fmla="*/ 2124075 h 2124075"/>
              <a:gd name="connsiteX3" fmla="*/ 0 w 3490912"/>
              <a:gd name="connsiteY3" fmla="*/ 223838 h 212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90912" h="2124075">
                <a:moveTo>
                  <a:pt x="3490912" y="0"/>
                </a:moveTo>
                <a:lnTo>
                  <a:pt x="3490912" y="2124075"/>
                </a:lnTo>
                <a:lnTo>
                  <a:pt x="0" y="2124075"/>
                </a:lnTo>
                <a:lnTo>
                  <a:pt x="0" y="223838"/>
                </a:lnTo>
              </a:path>
            </a:pathLst>
          </a:custGeom>
          <a:ln w="15875">
            <a:solidFill>
              <a:srgbClr val="00B05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8298847" y="3915435"/>
            <a:ext cx="202544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Real-time adjustments </a:t>
            </a:r>
          </a:p>
        </p:txBody>
      </p:sp>
      <p:sp>
        <p:nvSpPr>
          <p:cNvPr id="129" name="Rectangle 50"/>
          <p:cNvSpPr/>
          <p:nvPr/>
        </p:nvSpPr>
        <p:spPr>
          <a:xfrm rot="2084829">
            <a:off x="7778988" y="4809424"/>
            <a:ext cx="623436" cy="547295"/>
          </a:xfrm>
          <a:custGeom>
            <a:avLst/>
            <a:gdLst/>
            <a:ahLst/>
            <a:cxnLst/>
            <a:rect l="l" t="t" r="r" b="b"/>
            <a:pathLst>
              <a:path w="5132879" h="4237776">
                <a:moveTo>
                  <a:pt x="170699" y="1441288"/>
                </a:moveTo>
                <a:cubicBezTo>
                  <a:pt x="350790" y="1316368"/>
                  <a:pt x="598051" y="1361092"/>
                  <a:pt x="722971" y="1541183"/>
                </a:cubicBezTo>
                <a:cubicBezTo>
                  <a:pt x="760292" y="1594987"/>
                  <a:pt x="782471" y="1654786"/>
                  <a:pt x="788662" y="1715758"/>
                </a:cubicBezTo>
                <a:lnTo>
                  <a:pt x="1544341" y="1760309"/>
                </a:lnTo>
                <a:cubicBezTo>
                  <a:pt x="1555966" y="1535887"/>
                  <a:pt x="1669195" y="1320361"/>
                  <a:pt x="1868177" y="1182337"/>
                </a:cubicBezTo>
                <a:cubicBezTo>
                  <a:pt x="2167556" y="974672"/>
                  <a:pt x="2563258" y="1010283"/>
                  <a:pt x="2819940" y="1247757"/>
                </a:cubicBezTo>
                <a:lnTo>
                  <a:pt x="3337714" y="705728"/>
                </a:lnTo>
                <a:cubicBezTo>
                  <a:pt x="3220087" y="495123"/>
                  <a:pt x="3280513" y="225942"/>
                  <a:pt x="3483209" y="85342"/>
                </a:cubicBezTo>
                <a:cubicBezTo>
                  <a:pt x="3700277" y="-65228"/>
                  <a:pt x="3998304" y="-11320"/>
                  <a:pt x="4148874" y="205748"/>
                </a:cubicBezTo>
                <a:cubicBezTo>
                  <a:pt x="4299443" y="422815"/>
                  <a:pt x="4245536" y="720843"/>
                  <a:pt x="4028468" y="871412"/>
                </a:cubicBezTo>
                <a:cubicBezTo>
                  <a:pt x="3849201" y="995761"/>
                  <a:pt x="3614716" y="980648"/>
                  <a:pt x="3455085" y="847617"/>
                </a:cubicBezTo>
                <a:lnTo>
                  <a:pt x="2939940" y="1386894"/>
                </a:lnTo>
                <a:cubicBezTo>
                  <a:pt x="3028033" y="1517900"/>
                  <a:pt x="3069688" y="1666889"/>
                  <a:pt x="3067703" y="1814220"/>
                </a:cubicBezTo>
                <a:lnTo>
                  <a:pt x="3823204" y="1814220"/>
                </a:lnTo>
                <a:cubicBezTo>
                  <a:pt x="3860497" y="1668152"/>
                  <a:pt x="3949845" y="1535603"/>
                  <a:pt x="4083371" y="1442982"/>
                </a:cubicBezTo>
                <a:cubicBezTo>
                  <a:pt x="4386716" y="1232567"/>
                  <a:pt x="4803201" y="1307901"/>
                  <a:pt x="5013617" y="1611246"/>
                </a:cubicBezTo>
                <a:cubicBezTo>
                  <a:pt x="5224033" y="1914591"/>
                  <a:pt x="5148699" y="2331076"/>
                  <a:pt x="4845353" y="2541492"/>
                </a:cubicBezTo>
                <a:cubicBezTo>
                  <a:pt x="4542008" y="2751907"/>
                  <a:pt x="4125523" y="2676573"/>
                  <a:pt x="3915108" y="2373228"/>
                </a:cubicBezTo>
                <a:cubicBezTo>
                  <a:pt x="3853310" y="2284137"/>
                  <a:pt x="3816159" y="2185287"/>
                  <a:pt x="3805026" y="2084371"/>
                </a:cubicBezTo>
                <a:lnTo>
                  <a:pt x="3017890" y="2084371"/>
                </a:lnTo>
                <a:cubicBezTo>
                  <a:pt x="2965175" y="2223262"/>
                  <a:pt x="2871223" y="2348058"/>
                  <a:pt x="2739945" y="2439119"/>
                </a:cubicBezTo>
                <a:cubicBezTo>
                  <a:pt x="2553259" y="2568614"/>
                  <a:pt x="2329119" y="2603511"/>
                  <a:pt x="2125063" y="2551210"/>
                </a:cubicBezTo>
                <a:lnTo>
                  <a:pt x="1817988" y="3326906"/>
                </a:lnTo>
                <a:cubicBezTo>
                  <a:pt x="1870081" y="3360208"/>
                  <a:pt x="1916246" y="3404425"/>
                  <a:pt x="1953645" y="3458341"/>
                </a:cubicBezTo>
                <a:cubicBezTo>
                  <a:pt x="2109913" y="3683625"/>
                  <a:pt x="2053965" y="3992935"/>
                  <a:pt x="1828681" y="4149204"/>
                </a:cubicBezTo>
                <a:cubicBezTo>
                  <a:pt x="1603396" y="4305473"/>
                  <a:pt x="1294087" y="4249524"/>
                  <a:pt x="1137818" y="4024240"/>
                </a:cubicBezTo>
                <a:cubicBezTo>
                  <a:pt x="981549" y="3798955"/>
                  <a:pt x="1037497" y="3489646"/>
                  <a:pt x="1262782" y="3333377"/>
                </a:cubicBezTo>
                <a:cubicBezTo>
                  <a:pt x="1379987" y="3252077"/>
                  <a:pt x="1519935" y="3228218"/>
                  <a:pt x="1648985" y="3256970"/>
                </a:cubicBezTo>
                <a:lnTo>
                  <a:pt x="1953877" y="2486789"/>
                </a:lnTo>
                <a:cubicBezTo>
                  <a:pt x="1844968" y="2434491"/>
                  <a:pt x="1749293" y="2352751"/>
                  <a:pt x="1675670" y="2246612"/>
                </a:cubicBezTo>
                <a:cubicBezTo>
                  <a:pt x="1598426" y="2135253"/>
                  <a:pt x="1554841" y="2010567"/>
                  <a:pt x="1546237" y="1884283"/>
                </a:cubicBezTo>
                <a:lnTo>
                  <a:pt x="786976" y="1839520"/>
                </a:lnTo>
                <a:cubicBezTo>
                  <a:pt x="768746" y="1938904"/>
                  <a:pt x="712658" y="2031315"/>
                  <a:pt x="623075" y="2093455"/>
                </a:cubicBezTo>
                <a:cubicBezTo>
                  <a:pt x="442985" y="2218375"/>
                  <a:pt x="195724" y="2173650"/>
                  <a:pt x="70804" y="1993559"/>
                </a:cubicBezTo>
                <a:cubicBezTo>
                  <a:pt x="-54116" y="1813469"/>
                  <a:pt x="-9392" y="1566208"/>
                  <a:pt x="170699" y="1441288"/>
                </a:cubicBezTo>
                <a:close/>
              </a:path>
            </a:pathLst>
          </a:cu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226" name="Group 225"/>
          <p:cNvGrpSpPr/>
          <p:nvPr/>
        </p:nvGrpSpPr>
        <p:grpSpPr>
          <a:xfrm>
            <a:off x="7787746" y="3734559"/>
            <a:ext cx="602526" cy="611118"/>
            <a:chOff x="10008948" y="3300413"/>
            <a:chExt cx="909636" cy="909636"/>
          </a:xfrm>
        </p:grpSpPr>
        <p:sp>
          <p:nvSpPr>
            <p:cNvPr id="225" name="Oval 224"/>
            <p:cNvSpPr/>
            <p:nvPr/>
          </p:nvSpPr>
          <p:spPr>
            <a:xfrm>
              <a:off x="10008948" y="3300413"/>
              <a:ext cx="909636" cy="909636"/>
            </a:xfrm>
            <a:prstGeom prst="ellipse">
              <a:avLst/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132" name="Freeform: Shape 131"/>
            <p:cNvSpPr/>
            <p:nvPr/>
          </p:nvSpPr>
          <p:spPr>
            <a:xfrm>
              <a:off x="10076636" y="3368102"/>
              <a:ext cx="774261" cy="774259"/>
            </a:xfrm>
            <a:custGeom>
              <a:avLst/>
              <a:gdLst>
                <a:gd name="connsiteX0" fmla="*/ 2373437 w 4810408"/>
                <a:gd name="connsiteY0" fmla="*/ 3900602 h 4810401"/>
                <a:gd name="connsiteX1" fmla="*/ 2383604 w 4810408"/>
                <a:gd name="connsiteY1" fmla="*/ 3900602 h 4810401"/>
                <a:gd name="connsiteX2" fmla="*/ 2398853 w 4810408"/>
                <a:gd name="connsiteY2" fmla="*/ 3900602 h 4810401"/>
                <a:gd name="connsiteX3" fmla="*/ 2414103 w 4810408"/>
                <a:gd name="connsiteY3" fmla="*/ 3900602 h 4810401"/>
                <a:gd name="connsiteX4" fmla="*/ 2421727 w 4810408"/>
                <a:gd name="connsiteY4" fmla="*/ 3900602 h 4810401"/>
                <a:gd name="connsiteX5" fmla="*/ 2436976 w 4810408"/>
                <a:gd name="connsiteY5" fmla="*/ 3905602 h 4810401"/>
                <a:gd name="connsiteX6" fmla="*/ 2447140 w 4810408"/>
                <a:gd name="connsiteY6" fmla="*/ 3910602 h 4810401"/>
                <a:gd name="connsiteX7" fmla="*/ 2457307 w 4810408"/>
                <a:gd name="connsiteY7" fmla="*/ 3915598 h 4810401"/>
                <a:gd name="connsiteX8" fmla="*/ 2475099 w 4810408"/>
                <a:gd name="connsiteY8" fmla="*/ 3925597 h 4810401"/>
                <a:gd name="connsiteX9" fmla="*/ 2490348 w 4810408"/>
                <a:gd name="connsiteY9" fmla="*/ 3940593 h 4810401"/>
                <a:gd name="connsiteX10" fmla="*/ 2500515 w 4810408"/>
                <a:gd name="connsiteY10" fmla="*/ 3948091 h 4810401"/>
                <a:gd name="connsiteX11" fmla="*/ 2510679 w 4810408"/>
                <a:gd name="connsiteY11" fmla="*/ 3958090 h 4810401"/>
                <a:gd name="connsiteX12" fmla="*/ 2515764 w 4810408"/>
                <a:gd name="connsiteY12" fmla="*/ 3968087 h 4810401"/>
                <a:gd name="connsiteX13" fmla="*/ 2518304 w 4810408"/>
                <a:gd name="connsiteY13" fmla="*/ 3973086 h 4810401"/>
                <a:gd name="connsiteX14" fmla="*/ 2515764 w 4810408"/>
                <a:gd name="connsiteY14" fmla="*/ 4295508 h 4810401"/>
                <a:gd name="connsiteX15" fmla="*/ 2500515 w 4810408"/>
                <a:gd name="connsiteY15" fmla="*/ 4305504 h 4810401"/>
                <a:gd name="connsiteX16" fmla="*/ 2490348 w 4810408"/>
                <a:gd name="connsiteY16" fmla="*/ 4315504 h 4810401"/>
                <a:gd name="connsiteX17" fmla="*/ 2475099 w 4810408"/>
                <a:gd name="connsiteY17" fmla="*/ 4325500 h 4810401"/>
                <a:gd name="connsiteX18" fmla="*/ 2467474 w 4810408"/>
                <a:gd name="connsiteY18" fmla="*/ 4332998 h 4810401"/>
                <a:gd name="connsiteX19" fmla="*/ 2452225 w 4810408"/>
                <a:gd name="connsiteY19" fmla="*/ 4337997 h 4810401"/>
                <a:gd name="connsiteX20" fmla="*/ 2442058 w 4810408"/>
                <a:gd name="connsiteY20" fmla="*/ 4342997 h 4810401"/>
                <a:gd name="connsiteX21" fmla="*/ 2431891 w 4810408"/>
                <a:gd name="connsiteY21" fmla="*/ 4347997 h 4810401"/>
                <a:gd name="connsiteX22" fmla="*/ 2421727 w 4810408"/>
                <a:gd name="connsiteY22" fmla="*/ 4352993 h 4810401"/>
                <a:gd name="connsiteX23" fmla="*/ 2398853 w 4810408"/>
                <a:gd name="connsiteY23" fmla="*/ 4352993 h 4810401"/>
                <a:gd name="connsiteX24" fmla="*/ 2383604 w 4810408"/>
                <a:gd name="connsiteY24" fmla="*/ 4352993 h 4810401"/>
                <a:gd name="connsiteX25" fmla="*/ 2365813 w 4810408"/>
                <a:gd name="connsiteY25" fmla="*/ 4347997 h 4810401"/>
                <a:gd name="connsiteX26" fmla="*/ 2355646 w 4810408"/>
                <a:gd name="connsiteY26" fmla="*/ 4342997 h 4810401"/>
                <a:gd name="connsiteX27" fmla="*/ 2335315 w 4810408"/>
                <a:gd name="connsiteY27" fmla="*/ 4332998 h 4810401"/>
                <a:gd name="connsiteX28" fmla="*/ 2325147 w 4810408"/>
                <a:gd name="connsiteY28" fmla="*/ 4328001 h 4810401"/>
                <a:gd name="connsiteX29" fmla="*/ 2312441 w 4810408"/>
                <a:gd name="connsiteY29" fmla="*/ 4320500 h 4810401"/>
                <a:gd name="connsiteX30" fmla="*/ 2307356 w 4810408"/>
                <a:gd name="connsiteY30" fmla="*/ 4310504 h 4810401"/>
                <a:gd name="connsiteX31" fmla="*/ 2297192 w 4810408"/>
                <a:gd name="connsiteY31" fmla="*/ 4295508 h 4810401"/>
                <a:gd name="connsiteX32" fmla="*/ 2292107 w 4810408"/>
                <a:gd name="connsiteY32" fmla="*/ 4290509 h 4810401"/>
                <a:gd name="connsiteX33" fmla="*/ 2292107 w 4810408"/>
                <a:gd name="connsiteY33" fmla="*/ 3973086 h 4810401"/>
                <a:gd name="connsiteX34" fmla="*/ 2302274 w 4810408"/>
                <a:gd name="connsiteY34" fmla="*/ 3963087 h 4810401"/>
                <a:gd name="connsiteX35" fmla="*/ 2312441 w 4810408"/>
                <a:gd name="connsiteY35" fmla="*/ 3943091 h 4810401"/>
                <a:gd name="connsiteX36" fmla="*/ 2325147 w 4810408"/>
                <a:gd name="connsiteY36" fmla="*/ 3935594 h 4810401"/>
                <a:gd name="connsiteX37" fmla="*/ 2340397 w 4810408"/>
                <a:gd name="connsiteY37" fmla="*/ 3915598 h 4810401"/>
                <a:gd name="connsiteX38" fmla="*/ 2365813 w 4810408"/>
                <a:gd name="connsiteY38" fmla="*/ 3905602 h 4810401"/>
                <a:gd name="connsiteX39" fmla="*/ 3151061 w 4810408"/>
                <a:gd name="connsiteY39" fmla="*/ 3659326 h 4810401"/>
                <a:gd name="connsiteX40" fmla="*/ 3166035 w 4810408"/>
                <a:gd name="connsiteY40" fmla="*/ 3659326 h 4810401"/>
                <a:gd name="connsiteX41" fmla="*/ 3176018 w 4810408"/>
                <a:gd name="connsiteY41" fmla="*/ 3659326 h 4810401"/>
                <a:gd name="connsiteX42" fmla="*/ 3190995 w 4810408"/>
                <a:gd name="connsiteY42" fmla="*/ 3659326 h 4810401"/>
                <a:gd name="connsiteX43" fmla="*/ 3198484 w 4810408"/>
                <a:gd name="connsiteY43" fmla="*/ 3659326 h 4810401"/>
                <a:gd name="connsiteX44" fmla="*/ 3218450 w 4810408"/>
                <a:gd name="connsiteY44" fmla="*/ 3659326 h 4810401"/>
                <a:gd name="connsiteX45" fmla="*/ 3233427 w 4810408"/>
                <a:gd name="connsiteY45" fmla="*/ 3659326 h 4810401"/>
                <a:gd name="connsiteX46" fmla="*/ 3250899 w 4810408"/>
                <a:gd name="connsiteY46" fmla="*/ 3669380 h 4810401"/>
                <a:gd name="connsiteX47" fmla="*/ 3428110 w 4810408"/>
                <a:gd name="connsiteY47" fmla="*/ 3950867 h 4810401"/>
                <a:gd name="connsiteX48" fmla="*/ 3423119 w 4810408"/>
                <a:gd name="connsiteY48" fmla="*/ 3950867 h 4810401"/>
                <a:gd name="connsiteX49" fmla="*/ 3423119 w 4810408"/>
                <a:gd name="connsiteY49" fmla="*/ 3960920 h 4810401"/>
                <a:gd name="connsiteX50" fmla="*/ 3423119 w 4810408"/>
                <a:gd name="connsiteY50" fmla="*/ 3970973 h 4810401"/>
                <a:gd name="connsiteX51" fmla="*/ 3418126 w 4810408"/>
                <a:gd name="connsiteY51" fmla="*/ 3988565 h 4810401"/>
                <a:gd name="connsiteX52" fmla="*/ 3408143 w 4810408"/>
                <a:gd name="connsiteY52" fmla="*/ 4008672 h 4810401"/>
                <a:gd name="connsiteX53" fmla="*/ 3403149 w 4810408"/>
                <a:gd name="connsiteY53" fmla="*/ 4028778 h 4810401"/>
                <a:gd name="connsiteX54" fmla="*/ 3390671 w 4810408"/>
                <a:gd name="connsiteY54" fmla="*/ 4041345 h 4810401"/>
                <a:gd name="connsiteX55" fmla="*/ 3370704 w 4810408"/>
                <a:gd name="connsiteY55" fmla="*/ 4066480 h 4810401"/>
                <a:gd name="connsiteX56" fmla="*/ 3360720 w 4810408"/>
                <a:gd name="connsiteY56" fmla="*/ 4066480 h 4810401"/>
                <a:gd name="connsiteX57" fmla="*/ 3345744 w 4810408"/>
                <a:gd name="connsiteY57" fmla="*/ 4076533 h 4810401"/>
                <a:gd name="connsiteX58" fmla="*/ 3338255 w 4810408"/>
                <a:gd name="connsiteY58" fmla="*/ 4076533 h 4810401"/>
                <a:gd name="connsiteX59" fmla="*/ 3328272 w 4810408"/>
                <a:gd name="connsiteY59" fmla="*/ 4081558 h 4810401"/>
                <a:gd name="connsiteX60" fmla="*/ 3313298 w 4810408"/>
                <a:gd name="connsiteY60" fmla="*/ 4081558 h 4810401"/>
                <a:gd name="connsiteX61" fmla="*/ 3303312 w 4810408"/>
                <a:gd name="connsiteY61" fmla="*/ 4081558 h 4810401"/>
                <a:gd name="connsiteX62" fmla="*/ 3290833 w 4810408"/>
                <a:gd name="connsiteY62" fmla="*/ 4076533 h 4810401"/>
                <a:gd name="connsiteX63" fmla="*/ 3280850 w 4810408"/>
                <a:gd name="connsiteY63" fmla="*/ 4076533 h 4810401"/>
                <a:gd name="connsiteX64" fmla="*/ 3260883 w 4810408"/>
                <a:gd name="connsiteY64" fmla="*/ 4066480 h 4810401"/>
                <a:gd name="connsiteX65" fmla="*/ 3245906 w 4810408"/>
                <a:gd name="connsiteY65" fmla="*/ 4061451 h 4810401"/>
                <a:gd name="connsiteX66" fmla="*/ 3238417 w 4810408"/>
                <a:gd name="connsiteY66" fmla="*/ 4056426 h 4810401"/>
                <a:gd name="connsiteX67" fmla="*/ 3233427 w 4810408"/>
                <a:gd name="connsiteY67" fmla="*/ 4056426 h 4810401"/>
                <a:gd name="connsiteX68" fmla="*/ 3071190 w 4810408"/>
                <a:gd name="connsiteY68" fmla="*/ 3790017 h 4810401"/>
                <a:gd name="connsiteX69" fmla="*/ 3066197 w 4810408"/>
                <a:gd name="connsiteY69" fmla="*/ 3784992 h 4810401"/>
                <a:gd name="connsiteX70" fmla="*/ 3066197 w 4810408"/>
                <a:gd name="connsiteY70" fmla="*/ 3779964 h 4810401"/>
                <a:gd name="connsiteX71" fmla="*/ 3066197 w 4810408"/>
                <a:gd name="connsiteY71" fmla="*/ 3769911 h 4810401"/>
                <a:gd name="connsiteX72" fmla="*/ 3071190 w 4810408"/>
                <a:gd name="connsiteY72" fmla="*/ 3759858 h 4810401"/>
                <a:gd name="connsiteX73" fmla="*/ 3071190 w 4810408"/>
                <a:gd name="connsiteY73" fmla="*/ 3744780 h 4810401"/>
                <a:gd name="connsiteX74" fmla="*/ 3076181 w 4810408"/>
                <a:gd name="connsiteY74" fmla="*/ 3737237 h 4810401"/>
                <a:gd name="connsiteX75" fmla="*/ 3081174 w 4810408"/>
                <a:gd name="connsiteY75" fmla="*/ 3722159 h 4810401"/>
                <a:gd name="connsiteX76" fmla="*/ 3091157 w 4810408"/>
                <a:gd name="connsiteY76" fmla="*/ 3712106 h 4810401"/>
                <a:gd name="connsiteX77" fmla="*/ 3098646 w 4810408"/>
                <a:gd name="connsiteY77" fmla="*/ 3697025 h 4810401"/>
                <a:gd name="connsiteX78" fmla="*/ 3108629 w 4810408"/>
                <a:gd name="connsiteY78" fmla="*/ 3684461 h 4810401"/>
                <a:gd name="connsiteX79" fmla="*/ 3123606 w 4810408"/>
                <a:gd name="connsiteY79" fmla="*/ 3674408 h 4810401"/>
                <a:gd name="connsiteX80" fmla="*/ 3143573 w 4810408"/>
                <a:gd name="connsiteY80" fmla="*/ 3664355 h 4810401"/>
                <a:gd name="connsiteX81" fmla="*/ 1637371 w 4810408"/>
                <a:gd name="connsiteY81" fmla="*/ 3659326 h 4810401"/>
                <a:gd name="connsiteX82" fmla="*/ 1657335 w 4810408"/>
                <a:gd name="connsiteY82" fmla="*/ 3659326 h 4810401"/>
                <a:gd name="connsiteX83" fmla="*/ 1667316 w 4810408"/>
                <a:gd name="connsiteY83" fmla="*/ 3659326 h 4810401"/>
                <a:gd name="connsiteX84" fmla="*/ 1684784 w 4810408"/>
                <a:gd name="connsiteY84" fmla="*/ 3659326 h 4810401"/>
                <a:gd name="connsiteX85" fmla="*/ 1694768 w 4810408"/>
                <a:gd name="connsiteY85" fmla="*/ 3659326 h 4810401"/>
                <a:gd name="connsiteX86" fmla="*/ 1709738 w 4810408"/>
                <a:gd name="connsiteY86" fmla="*/ 3659326 h 4810401"/>
                <a:gd name="connsiteX87" fmla="*/ 1719722 w 4810408"/>
                <a:gd name="connsiteY87" fmla="*/ 3659326 h 4810401"/>
                <a:gd name="connsiteX88" fmla="*/ 1729702 w 4810408"/>
                <a:gd name="connsiteY88" fmla="*/ 3664355 h 4810401"/>
                <a:gd name="connsiteX89" fmla="*/ 1747171 w 4810408"/>
                <a:gd name="connsiteY89" fmla="*/ 3674408 h 4810401"/>
                <a:gd name="connsiteX90" fmla="*/ 1762144 w 4810408"/>
                <a:gd name="connsiteY90" fmla="*/ 3684461 h 4810401"/>
                <a:gd name="connsiteX91" fmla="*/ 1777118 w 4810408"/>
                <a:gd name="connsiteY91" fmla="*/ 3697025 h 4810401"/>
                <a:gd name="connsiteX92" fmla="*/ 1784603 w 4810408"/>
                <a:gd name="connsiteY92" fmla="*/ 3712106 h 4810401"/>
                <a:gd name="connsiteX93" fmla="*/ 1789593 w 4810408"/>
                <a:gd name="connsiteY93" fmla="*/ 3722159 h 4810401"/>
                <a:gd name="connsiteX94" fmla="*/ 1799577 w 4810408"/>
                <a:gd name="connsiteY94" fmla="*/ 3737237 h 4810401"/>
                <a:gd name="connsiteX95" fmla="*/ 1799577 w 4810408"/>
                <a:gd name="connsiteY95" fmla="*/ 3744780 h 4810401"/>
                <a:gd name="connsiteX96" fmla="*/ 1804567 w 4810408"/>
                <a:gd name="connsiteY96" fmla="*/ 3759858 h 4810401"/>
                <a:gd name="connsiteX97" fmla="*/ 1804567 w 4810408"/>
                <a:gd name="connsiteY97" fmla="*/ 3769911 h 4810401"/>
                <a:gd name="connsiteX98" fmla="*/ 1804567 w 4810408"/>
                <a:gd name="connsiteY98" fmla="*/ 3779964 h 4810401"/>
                <a:gd name="connsiteX99" fmla="*/ 1804567 w 4810408"/>
                <a:gd name="connsiteY99" fmla="*/ 3784992 h 4810401"/>
                <a:gd name="connsiteX100" fmla="*/ 1809557 w 4810408"/>
                <a:gd name="connsiteY100" fmla="*/ 3790017 h 4810401"/>
                <a:gd name="connsiteX101" fmla="*/ 1642362 w 4810408"/>
                <a:gd name="connsiteY101" fmla="*/ 4056426 h 4810401"/>
                <a:gd name="connsiteX102" fmla="*/ 1637371 w 4810408"/>
                <a:gd name="connsiteY102" fmla="*/ 4056426 h 4810401"/>
                <a:gd name="connsiteX103" fmla="*/ 1629886 w 4810408"/>
                <a:gd name="connsiteY103" fmla="*/ 4061451 h 4810401"/>
                <a:gd name="connsiteX104" fmla="*/ 1614913 w 4810408"/>
                <a:gd name="connsiteY104" fmla="*/ 4066480 h 4810401"/>
                <a:gd name="connsiteX105" fmla="*/ 1594949 w 4810408"/>
                <a:gd name="connsiteY105" fmla="*/ 4076533 h 4810401"/>
                <a:gd name="connsiteX106" fmla="*/ 1587464 w 4810408"/>
                <a:gd name="connsiteY106" fmla="*/ 4076533 h 4810401"/>
                <a:gd name="connsiteX107" fmla="*/ 1572490 w 4810408"/>
                <a:gd name="connsiteY107" fmla="*/ 4081558 h 4810401"/>
                <a:gd name="connsiteX108" fmla="*/ 1562507 w 4810408"/>
                <a:gd name="connsiteY108" fmla="*/ 4081558 h 4810401"/>
                <a:gd name="connsiteX109" fmla="*/ 1552526 w 4810408"/>
                <a:gd name="connsiteY109" fmla="*/ 4081558 h 4810401"/>
                <a:gd name="connsiteX110" fmla="*/ 1540048 w 4810408"/>
                <a:gd name="connsiteY110" fmla="*/ 4076533 h 4810401"/>
                <a:gd name="connsiteX111" fmla="*/ 1530067 w 4810408"/>
                <a:gd name="connsiteY111" fmla="*/ 4076533 h 4810401"/>
                <a:gd name="connsiteX112" fmla="*/ 1520084 w 4810408"/>
                <a:gd name="connsiteY112" fmla="*/ 4066480 h 4810401"/>
                <a:gd name="connsiteX113" fmla="*/ 1510104 w 4810408"/>
                <a:gd name="connsiteY113" fmla="*/ 4066480 h 4810401"/>
                <a:gd name="connsiteX114" fmla="*/ 1490140 w 4810408"/>
                <a:gd name="connsiteY114" fmla="*/ 4041345 h 4810401"/>
                <a:gd name="connsiteX115" fmla="*/ 1477661 w 4810408"/>
                <a:gd name="connsiteY115" fmla="*/ 4028778 h 4810401"/>
                <a:gd name="connsiteX116" fmla="*/ 1467681 w 4810408"/>
                <a:gd name="connsiteY116" fmla="*/ 4008672 h 4810401"/>
                <a:gd name="connsiteX117" fmla="*/ 1462688 w 4810408"/>
                <a:gd name="connsiteY117" fmla="*/ 3988565 h 4810401"/>
                <a:gd name="connsiteX118" fmla="*/ 1457698 w 4810408"/>
                <a:gd name="connsiteY118" fmla="*/ 3970973 h 4810401"/>
                <a:gd name="connsiteX119" fmla="*/ 1457698 w 4810408"/>
                <a:gd name="connsiteY119" fmla="*/ 3960920 h 4810401"/>
                <a:gd name="connsiteX120" fmla="*/ 1457698 w 4810408"/>
                <a:gd name="connsiteY120" fmla="*/ 3950867 h 4810401"/>
                <a:gd name="connsiteX121" fmla="*/ 1624893 w 4810408"/>
                <a:gd name="connsiteY121" fmla="*/ 3669380 h 4810401"/>
                <a:gd name="connsiteX122" fmla="*/ 3774940 w 4810408"/>
                <a:gd name="connsiteY122" fmla="*/ 3076246 h 4810401"/>
                <a:gd name="connsiteX123" fmla="*/ 3792535 w 4810408"/>
                <a:gd name="connsiteY123" fmla="*/ 3076246 h 4810401"/>
                <a:gd name="connsiteX124" fmla="*/ 4056430 w 4810408"/>
                <a:gd name="connsiteY124" fmla="*/ 3265938 h 4810401"/>
                <a:gd name="connsiteX125" fmla="*/ 4061455 w 4810408"/>
                <a:gd name="connsiteY125" fmla="*/ 3280915 h 4810401"/>
                <a:gd name="connsiteX126" fmla="*/ 4066483 w 4810408"/>
                <a:gd name="connsiteY126" fmla="*/ 3290899 h 4810401"/>
                <a:gd name="connsiteX127" fmla="*/ 4071508 w 4810408"/>
                <a:gd name="connsiteY127" fmla="*/ 3308371 h 4810401"/>
                <a:gd name="connsiteX128" fmla="*/ 4071508 w 4810408"/>
                <a:gd name="connsiteY128" fmla="*/ 3313361 h 4810401"/>
                <a:gd name="connsiteX129" fmla="*/ 4071508 w 4810408"/>
                <a:gd name="connsiteY129" fmla="*/ 3328337 h 4810401"/>
                <a:gd name="connsiteX130" fmla="*/ 4071508 w 4810408"/>
                <a:gd name="connsiteY130" fmla="*/ 3338321 h 4810401"/>
                <a:gd name="connsiteX131" fmla="*/ 4071508 w 4810408"/>
                <a:gd name="connsiteY131" fmla="*/ 3348304 h 4810401"/>
                <a:gd name="connsiteX132" fmla="*/ 4066483 w 4810408"/>
                <a:gd name="connsiteY132" fmla="*/ 3360786 h 4810401"/>
                <a:gd name="connsiteX133" fmla="*/ 4061455 w 4810408"/>
                <a:gd name="connsiteY133" fmla="*/ 3370770 h 4810401"/>
                <a:gd name="connsiteX134" fmla="*/ 4056430 w 4810408"/>
                <a:gd name="connsiteY134" fmla="*/ 3380753 h 4810401"/>
                <a:gd name="connsiteX135" fmla="*/ 4056430 w 4810408"/>
                <a:gd name="connsiteY135" fmla="*/ 3395730 h 4810401"/>
                <a:gd name="connsiteX136" fmla="*/ 4046377 w 4810408"/>
                <a:gd name="connsiteY136" fmla="*/ 3403215 h 4810401"/>
                <a:gd name="connsiteX137" fmla="*/ 4036324 w 4810408"/>
                <a:gd name="connsiteY137" fmla="*/ 3413198 h 4810401"/>
                <a:gd name="connsiteX138" fmla="*/ 4026271 w 4810408"/>
                <a:gd name="connsiteY138" fmla="*/ 3418192 h 4810401"/>
                <a:gd name="connsiteX139" fmla="*/ 4018729 w 4810408"/>
                <a:gd name="connsiteY139" fmla="*/ 3423185 h 4810401"/>
                <a:gd name="connsiteX140" fmla="*/ 4008676 w 4810408"/>
                <a:gd name="connsiteY140" fmla="*/ 3428175 h 4810401"/>
                <a:gd name="connsiteX141" fmla="*/ 3998622 w 4810408"/>
                <a:gd name="connsiteY141" fmla="*/ 3433169 h 4810401"/>
                <a:gd name="connsiteX142" fmla="*/ 3983544 w 4810408"/>
                <a:gd name="connsiteY142" fmla="*/ 3433169 h 4810401"/>
                <a:gd name="connsiteX143" fmla="*/ 3976005 w 4810408"/>
                <a:gd name="connsiteY143" fmla="*/ 3438159 h 4810401"/>
                <a:gd name="connsiteX144" fmla="*/ 3965952 w 4810408"/>
                <a:gd name="connsiteY144" fmla="*/ 3438159 h 4810401"/>
                <a:gd name="connsiteX145" fmla="*/ 3950871 w 4810408"/>
                <a:gd name="connsiteY145" fmla="*/ 3438159 h 4810401"/>
                <a:gd name="connsiteX146" fmla="*/ 3940818 w 4810408"/>
                <a:gd name="connsiteY146" fmla="*/ 3438159 h 4810401"/>
                <a:gd name="connsiteX147" fmla="*/ 3935793 w 4810408"/>
                <a:gd name="connsiteY147" fmla="*/ 3438159 h 4810401"/>
                <a:gd name="connsiteX148" fmla="*/ 3928251 w 4810408"/>
                <a:gd name="connsiteY148" fmla="*/ 3438159 h 4810401"/>
                <a:gd name="connsiteX149" fmla="*/ 3923226 w 4810408"/>
                <a:gd name="connsiteY149" fmla="*/ 3438159 h 4810401"/>
                <a:gd name="connsiteX150" fmla="*/ 3669383 w 4810408"/>
                <a:gd name="connsiteY150" fmla="*/ 3258450 h 4810401"/>
                <a:gd name="connsiteX151" fmla="*/ 3664355 w 4810408"/>
                <a:gd name="connsiteY151" fmla="*/ 3253460 h 4810401"/>
                <a:gd name="connsiteX152" fmla="*/ 3664355 w 4810408"/>
                <a:gd name="connsiteY152" fmla="*/ 3248467 h 4810401"/>
                <a:gd name="connsiteX153" fmla="*/ 3659330 w 4810408"/>
                <a:gd name="connsiteY153" fmla="*/ 3238483 h 4810401"/>
                <a:gd name="connsiteX154" fmla="*/ 3659330 w 4810408"/>
                <a:gd name="connsiteY154" fmla="*/ 3228500 h 4810401"/>
                <a:gd name="connsiteX155" fmla="*/ 3654302 w 4810408"/>
                <a:gd name="connsiteY155" fmla="*/ 3218516 h 4810401"/>
                <a:gd name="connsiteX156" fmla="*/ 3654302 w 4810408"/>
                <a:gd name="connsiteY156" fmla="*/ 3206038 h 4810401"/>
                <a:gd name="connsiteX157" fmla="*/ 3654302 w 4810408"/>
                <a:gd name="connsiteY157" fmla="*/ 3191061 h 4810401"/>
                <a:gd name="connsiteX158" fmla="*/ 3659330 w 4810408"/>
                <a:gd name="connsiteY158" fmla="*/ 3176084 h 4810401"/>
                <a:gd name="connsiteX159" fmla="*/ 3659330 w 4810408"/>
                <a:gd name="connsiteY159" fmla="*/ 3158612 h 4810401"/>
                <a:gd name="connsiteX160" fmla="*/ 3669383 w 4810408"/>
                <a:gd name="connsiteY160" fmla="*/ 3143639 h 4810401"/>
                <a:gd name="connsiteX161" fmla="*/ 3679437 w 4810408"/>
                <a:gd name="connsiteY161" fmla="*/ 3128662 h 4810401"/>
                <a:gd name="connsiteX162" fmla="*/ 3692004 w 4810408"/>
                <a:gd name="connsiteY162" fmla="*/ 3116183 h 4810401"/>
                <a:gd name="connsiteX163" fmla="*/ 3697029 w 4810408"/>
                <a:gd name="connsiteY163" fmla="*/ 3111190 h 4810401"/>
                <a:gd name="connsiteX164" fmla="*/ 3712110 w 4810408"/>
                <a:gd name="connsiteY164" fmla="*/ 3106200 h 4810401"/>
                <a:gd name="connsiteX165" fmla="*/ 3722163 w 4810408"/>
                <a:gd name="connsiteY165" fmla="*/ 3096213 h 4810401"/>
                <a:gd name="connsiteX166" fmla="*/ 3732216 w 4810408"/>
                <a:gd name="connsiteY166" fmla="*/ 3091223 h 4810401"/>
                <a:gd name="connsiteX167" fmla="*/ 3744780 w 4810408"/>
                <a:gd name="connsiteY167" fmla="*/ 3086230 h 4810401"/>
                <a:gd name="connsiteX168" fmla="*/ 3759862 w 4810408"/>
                <a:gd name="connsiteY168" fmla="*/ 3081240 h 4810401"/>
                <a:gd name="connsiteX169" fmla="*/ 1083217 w 4810408"/>
                <a:gd name="connsiteY169" fmla="*/ 3076246 h 4810401"/>
                <a:gd name="connsiteX170" fmla="*/ 1098295 w 4810408"/>
                <a:gd name="connsiteY170" fmla="*/ 3076246 h 4810401"/>
                <a:gd name="connsiteX171" fmla="*/ 1110862 w 4810408"/>
                <a:gd name="connsiteY171" fmla="*/ 3081240 h 4810401"/>
                <a:gd name="connsiteX172" fmla="*/ 1125944 w 4810408"/>
                <a:gd name="connsiteY172" fmla="*/ 3086230 h 4810401"/>
                <a:gd name="connsiteX173" fmla="*/ 1141022 w 4810408"/>
                <a:gd name="connsiteY173" fmla="*/ 3091223 h 4810401"/>
                <a:gd name="connsiteX174" fmla="*/ 1153589 w 4810408"/>
                <a:gd name="connsiteY174" fmla="*/ 3096213 h 4810401"/>
                <a:gd name="connsiteX175" fmla="*/ 1163642 w 4810408"/>
                <a:gd name="connsiteY175" fmla="*/ 3106200 h 4810401"/>
                <a:gd name="connsiteX176" fmla="*/ 1173695 w 4810408"/>
                <a:gd name="connsiteY176" fmla="*/ 3111190 h 4810401"/>
                <a:gd name="connsiteX177" fmla="*/ 1183748 w 4810408"/>
                <a:gd name="connsiteY177" fmla="*/ 3116183 h 4810401"/>
                <a:gd name="connsiteX178" fmla="*/ 1193801 w 4810408"/>
                <a:gd name="connsiteY178" fmla="*/ 3128662 h 4810401"/>
                <a:gd name="connsiteX179" fmla="*/ 1206369 w 4810408"/>
                <a:gd name="connsiteY179" fmla="*/ 3143639 h 4810401"/>
                <a:gd name="connsiteX180" fmla="*/ 1211394 w 4810408"/>
                <a:gd name="connsiteY180" fmla="*/ 3158612 h 4810401"/>
                <a:gd name="connsiteX181" fmla="*/ 1216422 w 4810408"/>
                <a:gd name="connsiteY181" fmla="*/ 3176084 h 4810401"/>
                <a:gd name="connsiteX182" fmla="*/ 1216422 w 4810408"/>
                <a:gd name="connsiteY182" fmla="*/ 3191061 h 4810401"/>
                <a:gd name="connsiteX183" fmla="*/ 1221447 w 4810408"/>
                <a:gd name="connsiteY183" fmla="*/ 3206038 h 4810401"/>
                <a:gd name="connsiteX184" fmla="*/ 1216422 w 4810408"/>
                <a:gd name="connsiteY184" fmla="*/ 3218516 h 4810401"/>
                <a:gd name="connsiteX185" fmla="*/ 1216422 w 4810408"/>
                <a:gd name="connsiteY185" fmla="*/ 3228500 h 4810401"/>
                <a:gd name="connsiteX186" fmla="*/ 1211394 w 4810408"/>
                <a:gd name="connsiteY186" fmla="*/ 3238483 h 4810401"/>
                <a:gd name="connsiteX187" fmla="*/ 1211394 w 4810408"/>
                <a:gd name="connsiteY187" fmla="*/ 3248467 h 4810401"/>
                <a:gd name="connsiteX188" fmla="*/ 1211394 w 4810408"/>
                <a:gd name="connsiteY188" fmla="*/ 3253460 h 4810401"/>
                <a:gd name="connsiteX189" fmla="*/ 1211394 w 4810408"/>
                <a:gd name="connsiteY189" fmla="*/ 3258450 h 4810401"/>
                <a:gd name="connsiteX190" fmla="*/ 957551 w 4810408"/>
                <a:gd name="connsiteY190" fmla="*/ 3438159 h 4810401"/>
                <a:gd name="connsiteX191" fmla="*/ 950012 w 4810408"/>
                <a:gd name="connsiteY191" fmla="*/ 3438159 h 4810401"/>
                <a:gd name="connsiteX192" fmla="*/ 939959 w 4810408"/>
                <a:gd name="connsiteY192" fmla="*/ 3438159 h 4810401"/>
                <a:gd name="connsiteX193" fmla="*/ 919853 w 4810408"/>
                <a:gd name="connsiteY193" fmla="*/ 3438159 h 4810401"/>
                <a:gd name="connsiteX194" fmla="*/ 904775 w 4810408"/>
                <a:gd name="connsiteY194" fmla="*/ 3438159 h 4810401"/>
                <a:gd name="connsiteX195" fmla="*/ 892208 w 4810408"/>
                <a:gd name="connsiteY195" fmla="*/ 3433169 h 4810401"/>
                <a:gd name="connsiteX196" fmla="*/ 882155 w 4810408"/>
                <a:gd name="connsiteY196" fmla="*/ 3433169 h 4810401"/>
                <a:gd name="connsiteX197" fmla="*/ 872101 w 4810408"/>
                <a:gd name="connsiteY197" fmla="*/ 3428175 h 4810401"/>
                <a:gd name="connsiteX198" fmla="*/ 862048 w 4810408"/>
                <a:gd name="connsiteY198" fmla="*/ 3423185 h 4810401"/>
                <a:gd name="connsiteX199" fmla="*/ 849481 w 4810408"/>
                <a:gd name="connsiteY199" fmla="*/ 3418192 h 4810401"/>
                <a:gd name="connsiteX200" fmla="*/ 844456 w 4810408"/>
                <a:gd name="connsiteY200" fmla="*/ 3413198 h 4810401"/>
                <a:gd name="connsiteX201" fmla="*/ 834403 w 4810408"/>
                <a:gd name="connsiteY201" fmla="*/ 3403215 h 4810401"/>
                <a:gd name="connsiteX202" fmla="*/ 829375 w 4810408"/>
                <a:gd name="connsiteY202" fmla="*/ 3395730 h 4810401"/>
                <a:gd name="connsiteX203" fmla="*/ 819322 w 4810408"/>
                <a:gd name="connsiteY203" fmla="*/ 3380753 h 4810401"/>
                <a:gd name="connsiteX204" fmla="*/ 814297 w 4810408"/>
                <a:gd name="connsiteY204" fmla="*/ 3370770 h 4810401"/>
                <a:gd name="connsiteX205" fmla="*/ 814297 w 4810408"/>
                <a:gd name="connsiteY205" fmla="*/ 3360786 h 4810401"/>
                <a:gd name="connsiteX206" fmla="*/ 809269 w 4810408"/>
                <a:gd name="connsiteY206" fmla="*/ 3348304 h 4810401"/>
                <a:gd name="connsiteX207" fmla="*/ 809269 w 4810408"/>
                <a:gd name="connsiteY207" fmla="*/ 3338321 h 4810401"/>
                <a:gd name="connsiteX208" fmla="*/ 809269 w 4810408"/>
                <a:gd name="connsiteY208" fmla="*/ 3328337 h 4810401"/>
                <a:gd name="connsiteX209" fmla="*/ 809269 w 4810408"/>
                <a:gd name="connsiteY209" fmla="*/ 3313361 h 4810401"/>
                <a:gd name="connsiteX210" fmla="*/ 809269 w 4810408"/>
                <a:gd name="connsiteY210" fmla="*/ 3308371 h 4810401"/>
                <a:gd name="connsiteX211" fmla="*/ 809269 w 4810408"/>
                <a:gd name="connsiteY211" fmla="*/ 3290899 h 4810401"/>
                <a:gd name="connsiteX212" fmla="*/ 814297 w 4810408"/>
                <a:gd name="connsiteY212" fmla="*/ 3280915 h 4810401"/>
                <a:gd name="connsiteX213" fmla="*/ 814297 w 4810408"/>
                <a:gd name="connsiteY213" fmla="*/ 3265938 h 4810401"/>
                <a:gd name="connsiteX214" fmla="*/ 819322 w 4810408"/>
                <a:gd name="connsiteY214" fmla="*/ 3265938 h 4810401"/>
                <a:gd name="connsiteX215" fmla="*/ 650509 w 4810408"/>
                <a:gd name="connsiteY215" fmla="*/ 2294616 h 4810401"/>
                <a:gd name="connsiteX216" fmla="*/ 962954 w 4810408"/>
                <a:gd name="connsiteY216" fmla="*/ 2294616 h 4810401"/>
                <a:gd name="connsiteX217" fmla="*/ 967954 w 4810408"/>
                <a:gd name="connsiteY217" fmla="*/ 2294616 h 4810401"/>
                <a:gd name="connsiteX218" fmla="*/ 982950 w 4810408"/>
                <a:gd name="connsiteY218" fmla="*/ 2309362 h 4810401"/>
                <a:gd name="connsiteX219" fmla="*/ 992949 w 4810408"/>
                <a:gd name="connsiteY219" fmla="*/ 2314276 h 4810401"/>
                <a:gd name="connsiteX220" fmla="*/ 1000447 w 4810408"/>
                <a:gd name="connsiteY220" fmla="*/ 2324108 h 4810401"/>
                <a:gd name="connsiteX221" fmla="*/ 1005446 w 4810408"/>
                <a:gd name="connsiteY221" fmla="*/ 2333936 h 4810401"/>
                <a:gd name="connsiteX222" fmla="*/ 1020445 w 4810408"/>
                <a:gd name="connsiteY222" fmla="*/ 2351139 h 4810401"/>
                <a:gd name="connsiteX223" fmla="*/ 1020445 w 4810408"/>
                <a:gd name="connsiteY223" fmla="*/ 2365881 h 4810401"/>
                <a:gd name="connsiteX224" fmla="*/ 1030442 w 4810408"/>
                <a:gd name="connsiteY224" fmla="*/ 2380627 h 4810401"/>
                <a:gd name="connsiteX225" fmla="*/ 1025442 w 4810408"/>
                <a:gd name="connsiteY225" fmla="*/ 2397829 h 4810401"/>
                <a:gd name="connsiteX226" fmla="*/ 1025442 w 4810408"/>
                <a:gd name="connsiteY226" fmla="*/ 2417489 h 4810401"/>
                <a:gd name="connsiteX227" fmla="*/ 1020445 w 4810408"/>
                <a:gd name="connsiteY227" fmla="*/ 2427318 h 4810401"/>
                <a:gd name="connsiteX228" fmla="*/ 1020445 w 4810408"/>
                <a:gd name="connsiteY228" fmla="*/ 2437149 h 4810401"/>
                <a:gd name="connsiteX229" fmla="*/ 1015446 w 4810408"/>
                <a:gd name="connsiteY229" fmla="*/ 2444520 h 4810401"/>
                <a:gd name="connsiteX230" fmla="*/ 1005446 w 4810408"/>
                <a:gd name="connsiteY230" fmla="*/ 2459266 h 4810401"/>
                <a:gd name="connsiteX231" fmla="*/ 1000447 w 4810408"/>
                <a:gd name="connsiteY231" fmla="*/ 2469094 h 4810401"/>
                <a:gd name="connsiteX232" fmla="*/ 992949 w 4810408"/>
                <a:gd name="connsiteY232" fmla="*/ 2483840 h 4810401"/>
                <a:gd name="connsiteX233" fmla="*/ 982950 w 4810408"/>
                <a:gd name="connsiteY233" fmla="*/ 2496125 h 4810401"/>
                <a:gd name="connsiteX234" fmla="*/ 972953 w 4810408"/>
                <a:gd name="connsiteY234" fmla="*/ 2505957 h 4810401"/>
                <a:gd name="connsiteX235" fmla="*/ 650509 w 4810408"/>
                <a:gd name="connsiteY235" fmla="*/ 2515785 h 4810401"/>
                <a:gd name="connsiteX236" fmla="*/ 645510 w 4810408"/>
                <a:gd name="connsiteY236" fmla="*/ 2510871 h 4810401"/>
                <a:gd name="connsiteX237" fmla="*/ 635514 w 4810408"/>
                <a:gd name="connsiteY237" fmla="*/ 2505957 h 4810401"/>
                <a:gd name="connsiteX238" fmla="*/ 625514 w 4810408"/>
                <a:gd name="connsiteY238" fmla="*/ 2496125 h 4810401"/>
                <a:gd name="connsiteX239" fmla="*/ 613017 w 4810408"/>
                <a:gd name="connsiteY239" fmla="*/ 2486297 h 4810401"/>
                <a:gd name="connsiteX240" fmla="*/ 603018 w 4810408"/>
                <a:gd name="connsiteY240" fmla="*/ 2469094 h 4810401"/>
                <a:gd name="connsiteX241" fmla="*/ 588022 w 4810408"/>
                <a:gd name="connsiteY241" fmla="*/ 2449434 h 4810401"/>
                <a:gd name="connsiteX242" fmla="*/ 583022 w 4810408"/>
                <a:gd name="connsiteY242" fmla="*/ 2439606 h 4810401"/>
                <a:gd name="connsiteX243" fmla="*/ 578023 w 4810408"/>
                <a:gd name="connsiteY243" fmla="*/ 2432232 h 4810401"/>
                <a:gd name="connsiteX244" fmla="*/ 573023 w 4810408"/>
                <a:gd name="connsiteY244" fmla="*/ 2417489 h 4810401"/>
                <a:gd name="connsiteX245" fmla="*/ 573023 w 4810408"/>
                <a:gd name="connsiteY245" fmla="*/ 2407658 h 4810401"/>
                <a:gd name="connsiteX246" fmla="*/ 573023 w 4810408"/>
                <a:gd name="connsiteY246" fmla="*/ 2392915 h 4810401"/>
                <a:gd name="connsiteX247" fmla="*/ 573023 w 4810408"/>
                <a:gd name="connsiteY247" fmla="*/ 2380627 h 4810401"/>
                <a:gd name="connsiteX248" fmla="*/ 578023 w 4810408"/>
                <a:gd name="connsiteY248" fmla="*/ 2370798 h 4810401"/>
                <a:gd name="connsiteX249" fmla="*/ 583022 w 4810408"/>
                <a:gd name="connsiteY249" fmla="*/ 2360967 h 4810401"/>
                <a:gd name="connsiteX250" fmla="*/ 593021 w 4810408"/>
                <a:gd name="connsiteY250" fmla="*/ 2343764 h 4810401"/>
                <a:gd name="connsiteX251" fmla="*/ 613017 w 4810408"/>
                <a:gd name="connsiteY251" fmla="*/ 2324108 h 4810401"/>
                <a:gd name="connsiteX252" fmla="*/ 620515 w 4810408"/>
                <a:gd name="connsiteY252" fmla="*/ 2309362 h 4810401"/>
                <a:gd name="connsiteX253" fmla="*/ 640510 w 4810408"/>
                <a:gd name="connsiteY253" fmla="*/ 2299530 h 4810401"/>
                <a:gd name="connsiteX254" fmla="*/ 3918197 w 4810408"/>
                <a:gd name="connsiteY254" fmla="*/ 1397374 h 4810401"/>
                <a:gd name="connsiteX255" fmla="*/ 3923226 w 4810408"/>
                <a:gd name="connsiteY255" fmla="*/ 1397374 h 4810401"/>
                <a:gd name="connsiteX256" fmla="*/ 3930765 w 4810408"/>
                <a:gd name="connsiteY256" fmla="*/ 1397374 h 4810401"/>
                <a:gd name="connsiteX257" fmla="*/ 3935793 w 4810408"/>
                <a:gd name="connsiteY257" fmla="*/ 1397374 h 4810401"/>
                <a:gd name="connsiteX258" fmla="*/ 3945846 w 4810408"/>
                <a:gd name="connsiteY258" fmla="*/ 1397374 h 4810401"/>
                <a:gd name="connsiteX259" fmla="*/ 3955899 w 4810408"/>
                <a:gd name="connsiteY259" fmla="*/ 1397374 h 4810401"/>
                <a:gd name="connsiteX260" fmla="*/ 3970977 w 4810408"/>
                <a:gd name="connsiteY260" fmla="*/ 1397374 h 4810401"/>
                <a:gd name="connsiteX261" fmla="*/ 3978516 w 4810408"/>
                <a:gd name="connsiteY261" fmla="*/ 1397374 h 4810401"/>
                <a:gd name="connsiteX262" fmla="*/ 3988569 w 4810408"/>
                <a:gd name="connsiteY262" fmla="*/ 1402402 h 4810401"/>
                <a:gd name="connsiteX263" fmla="*/ 3998622 w 4810408"/>
                <a:gd name="connsiteY263" fmla="*/ 1402402 h 4810401"/>
                <a:gd name="connsiteX264" fmla="*/ 4013704 w 4810408"/>
                <a:gd name="connsiteY264" fmla="*/ 1412455 h 4810401"/>
                <a:gd name="connsiteX265" fmla="*/ 4023757 w 4810408"/>
                <a:gd name="connsiteY265" fmla="*/ 1417480 h 4810401"/>
                <a:gd name="connsiteX266" fmla="*/ 4031296 w 4810408"/>
                <a:gd name="connsiteY266" fmla="*/ 1422508 h 4810401"/>
                <a:gd name="connsiteX267" fmla="*/ 4036324 w 4810408"/>
                <a:gd name="connsiteY267" fmla="*/ 1435075 h 4810401"/>
                <a:gd name="connsiteX268" fmla="*/ 4046377 w 4810408"/>
                <a:gd name="connsiteY268" fmla="*/ 1445129 h 4810401"/>
                <a:gd name="connsiteX269" fmla="*/ 4056430 w 4810408"/>
                <a:gd name="connsiteY269" fmla="*/ 1465235 h 4810401"/>
                <a:gd name="connsiteX270" fmla="*/ 4066483 w 4810408"/>
                <a:gd name="connsiteY270" fmla="*/ 1482827 h 4810401"/>
                <a:gd name="connsiteX271" fmla="*/ 4066483 w 4810408"/>
                <a:gd name="connsiteY271" fmla="*/ 1497905 h 4810401"/>
                <a:gd name="connsiteX272" fmla="*/ 4066483 w 4810408"/>
                <a:gd name="connsiteY272" fmla="*/ 1507958 h 4810401"/>
                <a:gd name="connsiteX273" fmla="*/ 4066483 w 4810408"/>
                <a:gd name="connsiteY273" fmla="*/ 1518011 h 4810401"/>
                <a:gd name="connsiteX274" fmla="*/ 4071508 w 4810408"/>
                <a:gd name="connsiteY274" fmla="*/ 1525553 h 4810401"/>
                <a:gd name="connsiteX275" fmla="*/ 4066483 w 4810408"/>
                <a:gd name="connsiteY275" fmla="*/ 1545660 h 4810401"/>
                <a:gd name="connsiteX276" fmla="*/ 4061455 w 4810408"/>
                <a:gd name="connsiteY276" fmla="*/ 1555713 h 4810401"/>
                <a:gd name="connsiteX277" fmla="*/ 4056430 w 4810408"/>
                <a:gd name="connsiteY277" fmla="*/ 1568277 h 4810401"/>
                <a:gd name="connsiteX278" fmla="*/ 3792535 w 4810408"/>
                <a:gd name="connsiteY278" fmla="*/ 1764314 h 4810401"/>
                <a:gd name="connsiteX279" fmla="*/ 3774940 w 4810408"/>
                <a:gd name="connsiteY279" fmla="*/ 1761800 h 4810401"/>
                <a:gd name="connsiteX280" fmla="*/ 3759862 w 4810408"/>
                <a:gd name="connsiteY280" fmla="*/ 1756775 h 4810401"/>
                <a:gd name="connsiteX281" fmla="*/ 3744780 w 4810408"/>
                <a:gd name="connsiteY281" fmla="*/ 1751747 h 4810401"/>
                <a:gd name="connsiteX282" fmla="*/ 3732216 w 4810408"/>
                <a:gd name="connsiteY282" fmla="*/ 1751747 h 4810401"/>
                <a:gd name="connsiteX283" fmla="*/ 3722163 w 4810408"/>
                <a:gd name="connsiteY283" fmla="*/ 1741694 h 4810401"/>
                <a:gd name="connsiteX284" fmla="*/ 3712110 w 4810408"/>
                <a:gd name="connsiteY284" fmla="*/ 1736669 h 4810401"/>
                <a:gd name="connsiteX285" fmla="*/ 3697029 w 4810408"/>
                <a:gd name="connsiteY285" fmla="*/ 1731641 h 4810401"/>
                <a:gd name="connsiteX286" fmla="*/ 3692004 w 4810408"/>
                <a:gd name="connsiteY286" fmla="*/ 1726616 h 4810401"/>
                <a:gd name="connsiteX287" fmla="*/ 3679437 w 4810408"/>
                <a:gd name="connsiteY287" fmla="*/ 1714049 h 4810401"/>
                <a:gd name="connsiteX288" fmla="*/ 3669383 w 4810408"/>
                <a:gd name="connsiteY288" fmla="*/ 1698971 h 4810401"/>
                <a:gd name="connsiteX289" fmla="*/ 3659330 w 4810408"/>
                <a:gd name="connsiteY289" fmla="*/ 1683889 h 4810401"/>
                <a:gd name="connsiteX290" fmla="*/ 3659330 w 4810408"/>
                <a:gd name="connsiteY290" fmla="*/ 1668811 h 4810401"/>
                <a:gd name="connsiteX291" fmla="*/ 3654302 w 4810408"/>
                <a:gd name="connsiteY291" fmla="*/ 1651216 h 4810401"/>
                <a:gd name="connsiteX292" fmla="*/ 3654302 w 4810408"/>
                <a:gd name="connsiteY292" fmla="*/ 1641163 h 4810401"/>
                <a:gd name="connsiteX293" fmla="*/ 3659330 w 4810408"/>
                <a:gd name="connsiteY293" fmla="*/ 1626085 h 4810401"/>
                <a:gd name="connsiteX294" fmla="*/ 3659330 w 4810408"/>
                <a:gd name="connsiteY294" fmla="*/ 1616032 h 4810401"/>
                <a:gd name="connsiteX295" fmla="*/ 3659330 w 4810408"/>
                <a:gd name="connsiteY295" fmla="*/ 1603464 h 4810401"/>
                <a:gd name="connsiteX296" fmla="*/ 3664355 w 4810408"/>
                <a:gd name="connsiteY296" fmla="*/ 1598439 h 4810401"/>
                <a:gd name="connsiteX297" fmla="*/ 3664355 w 4810408"/>
                <a:gd name="connsiteY297" fmla="*/ 1593411 h 4810401"/>
                <a:gd name="connsiteX298" fmla="*/ 3669383 w 4810408"/>
                <a:gd name="connsiteY298" fmla="*/ 1593411 h 4810401"/>
                <a:gd name="connsiteX299" fmla="*/ 870113 w 4810408"/>
                <a:gd name="connsiteY299" fmla="*/ 1397374 h 4810401"/>
                <a:gd name="connsiteX300" fmla="*/ 885286 w 4810408"/>
                <a:gd name="connsiteY300" fmla="*/ 1397374 h 4810401"/>
                <a:gd name="connsiteX301" fmla="*/ 902986 w 4810408"/>
                <a:gd name="connsiteY301" fmla="*/ 1397374 h 4810401"/>
                <a:gd name="connsiteX302" fmla="*/ 918159 w 4810408"/>
                <a:gd name="connsiteY302" fmla="*/ 1397374 h 4810401"/>
                <a:gd name="connsiteX303" fmla="*/ 933332 w 4810408"/>
                <a:gd name="connsiteY303" fmla="*/ 1397374 h 4810401"/>
                <a:gd name="connsiteX304" fmla="*/ 938389 w 4810408"/>
                <a:gd name="connsiteY304" fmla="*/ 1397374 h 4810401"/>
                <a:gd name="connsiteX305" fmla="*/ 1193789 w 4810408"/>
                <a:gd name="connsiteY305" fmla="*/ 1593411 h 4810401"/>
                <a:gd name="connsiteX306" fmla="*/ 1193789 w 4810408"/>
                <a:gd name="connsiteY306" fmla="*/ 1598439 h 4810401"/>
                <a:gd name="connsiteX307" fmla="*/ 1193789 w 4810408"/>
                <a:gd name="connsiteY307" fmla="*/ 1603464 h 4810401"/>
                <a:gd name="connsiteX308" fmla="*/ 1196315 w 4810408"/>
                <a:gd name="connsiteY308" fmla="*/ 1616032 h 4810401"/>
                <a:gd name="connsiteX309" fmla="*/ 1196315 w 4810408"/>
                <a:gd name="connsiteY309" fmla="*/ 1626085 h 4810401"/>
                <a:gd name="connsiteX310" fmla="*/ 1196315 w 4810408"/>
                <a:gd name="connsiteY310" fmla="*/ 1641163 h 4810401"/>
                <a:gd name="connsiteX311" fmla="*/ 1196315 w 4810408"/>
                <a:gd name="connsiteY311" fmla="*/ 1651216 h 4810401"/>
                <a:gd name="connsiteX312" fmla="*/ 1196315 w 4810408"/>
                <a:gd name="connsiteY312" fmla="*/ 1668811 h 4810401"/>
                <a:gd name="connsiteX313" fmla="*/ 1193789 w 4810408"/>
                <a:gd name="connsiteY313" fmla="*/ 1683889 h 4810401"/>
                <a:gd name="connsiteX314" fmla="*/ 1183672 w 4810408"/>
                <a:gd name="connsiteY314" fmla="*/ 1698971 h 4810401"/>
                <a:gd name="connsiteX315" fmla="*/ 1173559 w 4810408"/>
                <a:gd name="connsiteY315" fmla="*/ 1714049 h 4810401"/>
                <a:gd name="connsiteX316" fmla="*/ 1163443 w 4810408"/>
                <a:gd name="connsiteY316" fmla="*/ 1726616 h 4810401"/>
                <a:gd name="connsiteX317" fmla="*/ 1153329 w 4810408"/>
                <a:gd name="connsiteY317" fmla="*/ 1731641 h 4810401"/>
                <a:gd name="connsiteX318" fmla="*/ 1140686 w 4810408"/>
                <a:gd name="connsiteY318" fmla="*/ 1736669 h 4810401"/>
                <a:gd name="connsiteX319" fmla="*/ 1130570 w 4810408"/>
                <a:gd name="connsiteY319" fmla="*/ 1741694 h 4810401"/>
                <a:gd name="connsiteX320" fmla="*/ 1120456 w 4810408"/>
                <a:gd name="connsiteY320" fmla="*/ 1751747 h 4810401"/>
                <a:gd name="connsiteX321" fmla="*/ 1105283 w 4810408"/>
                <a:gd name="connsiteY321" fmla="*/ 1751747 h 4810401"/>
                <a:gd name="connsiteX322" fmla="*/ 1092640 w 4810408"/>
                <a:gd name="connsiteY322" fmla="*/ 1756775 h 4810401"/>
                <a:gd name="connsiteX323" fmla="*/ 1077467 w 4810408"/>
                <a:gd name="connsiteY323" fmla="*/ 1761800 h 4810401"/>
                <a:gd name="connsiteX324" fmla="*/ 1062294 w 4810408"/>
                <a:gd name="connsiteY324" fmla="*/ 1764314 h 4810401"/>
                <a:gd name="connsiteX325" fmla="*/ 799311 w 4810408"/>
                <a:gd name="connsiteY325" fmla="*/ 1568277 h 4810401"/>
                <a:gd name="connsiteX326" fmla="*/ 794254 w 4810408"/>
                <a:gd name="connsiteY326" fmla="*/ 1568277 h 4810401"/>
                <a:gd name="connsiteX327" fmla="*/ 789194 w 4810408"/>
                <a:gd name="connsiteY327" fmla="*/ 1555713 h 4810401"/>
                <a:gd name="connsiteX328" fmla="*/ 789194 w 4810408"/>
                <a:gd name="connsiteY328" fmla="*/ 1545660 h 4810401"/>
                <a:gd name="connsiteX329" fmla="*/ 789194 w 4810408"/>
                <a:gd name="connsiteY329" fmla="*/ 1525553 h 4810401"/>
                <a:gd name="connsiteX330" fmla="*/ 784137 w 4810408"/>
                <a:gd name="connsiteY330" fmla="*/ 1518011 h 4810401"/>
                <a:gd name="connsiteX331" fmla="*/ 784137 w 4810408"/>
                <a:gd name="connsiteY331" fmla="*/ 1507958 h 4810401"/>
                <a:gd name="connsiteX332" fmla="*/ 784137 w 4810408"/>
                <a:gd name="connsiteY332" fmla="*/ 1497905 h 4810401"/>
                <a:gd name="connsiteX333" fmla="*/ 789194 w 4810408"/>
                <a:gd name="connsiteY333" fmla="*/ 1482827 h 4810401"/>
                <a:gd name="connsiteX334" fmla="*/ 794254 w 4810408"/>
                <a:gd name="connsiteY334" fmla="*/ 1465235 h 4810401"/>
                <a:gd name="connsiteX335" fmla="*/ 801840 w 4810408"/>
                <a:gd name="connsiteY335" fmla="*/ 1445129 h 4810401"/>
                <a:gd name="connsiteX336" fmla="*/ 811954 w 4810408"/>
                <a:gd name="connsiteY336" fmla="*/ 1435075 h 4810401"/>
                <a:gd name="connsiteX337" fmla="*/ 817010 w 4810408"/>
                <a:gd name="connsiteY337" fmla="*/ 1422508 h 4810401"/>
                <a:gd name="connsiteX338" fmla="*/ 827127 w 4810408"/>
                <a:gd name="connsiteY338" fmla="*/ 1417480 h 4810401"/>
                <a:gd name="connsiteX339" fmla="*/ 837240 w 4810408"/>
                <a:gd name="connsiteY339" fmla="*/ 1412455 h 4810401"/>
                <a:gd name="connsiteX340" fmla="*/ 847357 w 4810408"/>
                <a:gd name="connsiteY340" fmla="*/ 1402402 h 4810401"/>
                <a:gd name="connsiteX341" fmla="*/ 860000 w 4810408"/>
                <a:gd name="connsiteY341" fmla="*/ 1402402 h 4810401"/>
                <a:gd name="connsiteX342" fmla="*/ 3001594 w 4810408"/>
                <a:gd name="connsiteY342" fmla="*/ 1380233 h 4810401"/>
                <a:gd name="connsiteX343" fmla="*/ 3051309 w 4810408"/>
                <a:gd name="connsiteY343" fmla="*/ 1399530 h 4810401"/>
                <a:gd name="connsiteX344" fmla="*/ 3092000 w 4810408"/>
                <a:gd name="connsiteY344" fmla="*/ 1585043 h 4810401"/>
                <a:gd name="connsiteX345" fmla="*/ 2675803 w 4810408"/>
                <a:gd name="connsiteY345" fmla="*/ 2235120 h 4810401"/>
                <a:gd name="connsiteX346" fmla="*/ 2702736 w 4810408"/>
                <a:gd name="connsiteY346" fmla="*/ 2279511 h 4810401"/>
                <a:gd name="connsiteX347" fmla="*/ 2705100 w 4810408"/>
                <a:gd name="connsiteY347" fmla="*/ 2287126 h 4810401"/>
                <a:gd name="connsiteX348" fmla="*/ 4182142 w 4810408"/>
                <a:gd name="connsiteY348" fmla="*/ 2287126 h 4810401"/>
                <a:gd name="connsiteX349" fmla="*/ 4219241 w 4810408"/>
                <a:gd name="connsiteY349" fmla="*/ 2294616 h 4810401"/>
                <a:gd name="connsiteX350" fmla="*/ 4232729 w 4810408"/>
                <a:gd name="connsiteY350" fmla="*/ 2294616 h 4810401"/>
                <a:gd name="connsiteX351" fmla="*/ 4237729 w 4810408"/>
                <a:gd name="connsiteY351" fmla="*/ 2294616 h 4810401"/>
                <a:gd name="connsiteX352" fmla="*/ 4252725 w 4810408"/>
                <a:gd name="connsiteY352" fmla="*/ 2309362 h 4810401"/>
                <a:gd name="connsiteX353" fmla="*/ 4262724 w 4810408"/>
                <a:gd name="connsiteY353" fmla="*/ 2314276 h 4810401"/>
                <a:gd name="connsiteX354" fmla="*/ 4270222 w 4810408"/>
                <a:gd name="connsiteY354" fmla="*/ 2324108 h 4810401"/>
                <a:gd name="connsiteX355" fmla="*/ 4275221 w 4810408"/>
                <a:gd name="connsiteY355" fmla="*/ 2333936 h 4810401"/>
                <a:gd name="connsiteX356" fmla="*/ 4290220 w 4810408"/>
                <a:gd name="connsiteY356" fmla="*/ 2351139 h 4810401"/>
                <a:gd name="connsiteX357" fmla="*/ 4290220 w 4810408"/>
                <a:gd name="connsiteY357" fmla="*/ 2358176 h 4810401"/>
                <a:gd name="connsiteX358" fmla="*/ 4290938 w 4810408"/>
                <a:gd name="connsiteY358" fmla="*/ 2359241 h 4810401"/>
                <a:gd name="connsiteX359" fmla="*/ 4293152 w 4810408"/>
                <a:gd name="connsiteY359" fmla="*/ 2370206 h 4810401"/>
                <a:gd name="connsiteX360" fmla="*/ 4300217 w 4810408"/>
                <a:gd name="connsiteY360" fmla="*/ 2380627 h 4810401"/>
                <a:gd name="connsiteX361" fmla="*/ 4297290 w 4810408"/>
                <a:gd name="connsiteY361" fmla="*/ 2390700 h 4810401"/>
                <a:gd name="connsiteX362" fmla="*/ 4300217 w 4810408"/>
                <a:gd name="connsiteY362" fmla="*/ 2405201 h 4810401"/>
                <a:gd name="connsiteX363" fmla="*/ 4300216 w 4810408"/>
                <a:gd name="connsiteY363" fmla="*/ 2405201 h 4810401"/>
                <a:gd name="connsiteX364" fmla="*/ 4265633 w 4810408"/>
                <a:gd name="connsiteY364" fmla="*/ 2488693 h 4810401"/>
                <a:gd name="connsiteX365" fmla="*/ 4248618 w 4810408"/>
                <a:gd name="connsiteY365" fmla="*/ 2500164 h 4810401"/>
                <a:gd name="connsiteX366" fmla="*/ 4242728 w 4810408"/>
                <a:gd name="connsiteY366" fmla="*/ 2505957 h 4810401"/>
                <a:gd name="connsiteX367" fmla="*/ 4239898 w 4810408"/>
                <a:gd name="connsiteY367" fmla="*/ 2506043 h 4810401"/>
                <a:gd name="connsiteX368" fmla="*/ 4228101 w 4810408"/>
                <a:gd name="connsiteY368" fmla="*/ 2513997 h 4810401"/>
                <a:gd name="connsiteX369" fmla="*/ 4182141 w 4810408"/>
                <a:gd name="connsiteY369" fmla="*/ 2523276 h 4810401"/>
                <a:gd name="connsiteX370" fmla="*/ 2705099 w 4810408"/>
                <a:gd name="connsiteY370" fmla="*/ 2523275 h 4810401"/>
                <a:gd name="connsiteX371" fmla="*/ 2702736 w 4810408"/>
                <a:gd name="connsiteY371" fmla="*/ 2530890 h 4810401"/>
                <a:gd name="connsiteX372" fmla="*/ 2405204 w 4810408"/>
                <a:gd name="connsiteY372" fmla="*/ 2728106 h 4810401"/>
                <a:gd name="connsiteX373" fmla="*/ 2362260 w 4810408"/>
                <a:gd name="connsiteY373" fmla="*/ 2724857 h 4810401"/>
                <a:gd name="connsiteX374" fmla="*/ 2288654 w 4810408"/>
                <a:gd name="connsiteY374" fmla="*/ 2839825 h 4810401"/>
                <a:gd name="connsiteX375" fmla="*/ 2103141 w 4810408"/>
                <a:gd name="connsiteY375" fmla="*/ 2880516 h 4810401"/>
                <a:gd name="connsiteX376" fmla="*/ 2062450 w 4810408"/>
                <a:gd name="connsiteY376" fmla="*/ 2695003 h 4810401"/>
                <a:gd name="connsiteX377" fmla="*/ 2136792 w 4810408"/>
                <a:gd name="connsiteY377" fmla="*/ 2578885 h 4810401"/>
                <a:gd name="connsiteX378" fmla="*/ 2107673 w 4810408"/>
                <a:gd name="connsiteY378" fmla="*/ 2530890 h 4810401"/>
                <a:gd name="connsiteX379" fmla="*/ 2105309 w 4810408"/>
                <a:gd name="connsiteY379" fmla="*/ 2523275 h 4810401"/>
                <a:gd name="connsiteX380" fmla="*/ 1997498 w 4810408"/>
                <a:gd name="connsiteY380" fmla="*/ 2523275 h 4810401"/>
                <a:gd name="connsiteX381" fmla="*/ 1888702 w 4810408"/>
                <a:gd name="connsiteY381" fmla="*/ 2451160 h 4810401"/>
                <a:gd name="connsiteX382" fmla="*/ 1879423 w 4810408"/>
                <a:gd name="connsiteY382" fmla="*/ 2405201 h 4810401"/>
                <a:gd name="connsiteX383" fmla="*/ 1888702 w 4810408"/>
                <a:gd name="connsiteY383" fmla="*/ 2359241 h 4810401"/>
                <a:gd name="connsiteX384" fmla="*/ 1997498 w 4810408"/>
                <a:gd name="connsiteY384" fmla="*/ 2287126 h 4810401"/>
                <a:gd name="connsiteX385" fmla="*/ 2105309 w 4810408"/>
                <a:gd name="connsiteY385" fmla="*/ 2287126 h 4810401"/>
                <a:gd name="connsiteX386" fmla="*/ 2107673 w 4810408"/>
                <a:gd name="connsiteY386" fmla="*/ 2279511 h 4810401"/>
                <a:gd name="connsiteX387" fmla="*/ 2405204 w 4810408"/>
                <a:gd name="connsiteY387" fmla="*/ 2082294 h 4810401"/>
                <a:gd name="connsiteX388" fmla="*/ 2452436 w 4810408"/>
                <a:gd name="connsiteY388" fmla="*/ 2085868 h 4810401"/>
                <a:gd name="connsiteX389" fmla="*/ 2865796 w 4810408"/>
                <a:gd name="connsiteY389" fmla="*/ 1440221 h 4810401"/>
                <a:gd name="connsiteX390" fmla="*/ 3001594 w 4810408"/>
                <a:gd name="connsiteY390" fmla="*/ 1380233 h 4810401"/>
                <a:gd name="connsiteX391" fmla="*/ 3280793 w 4810408"/>
                <a:gd name="connsiteY391" fmla="*/ 764029 h 4810401"/>
                <a:gd name="connsiteX392" fmla="*/ 3293271 w 4810408"/>
                <a:gd name="connsiteY392" fmla="*/ 764029 h 4810401"/>
                <a:gd name="connsiteX393" fmla="*/ 3303255 w 4810408"/>
                <a:gd name="connsiteY393" fmla="*/ 764029 h 4810401"/>
                <a:gd name="connsiteX394" fmla="*/ 3318228 w 4810408"/>
                <a:gd name="connsiteY394" fmla="*/ 764029 h 4810401"/>
                <a:gd name="connsiteX395" fmla="*/ 3328212 w 4810408"/>
                <a:gd name="connsiteY395" fmla="*/ 764029 h 4810401"/>
                <a:gd name="connsiteX396" fmla="*/ 3338195 w 4810408"/>
                <a:gd name="connsiteY396" fmla="*/ 769086 h 4810401"/>
                <a:gd name="connsiteX397" fmla="*/ 3345680 w 4810408"/>
                <a:gd name="connsiteY397" fmla="*/ 774142 h 4810401"/>
                <a:gd name="connsiteX398" fmla="*/ 3360657 w 4810408"/>
                <a:gd name="connsiteY398" fmla="*/ 784256 h 4810401"/>
                <a:gd name="connsiteX399" fmla="*/ 3375631 w 4810408"/>
                <a:gd name="connsiteY399" fmla="*/ 796899 h 4810401"/>
                <a:gd name="connsiteX400" fmla="*/ 3390604 w 4810408"/>
                <a:gd name="connsiteY400" fmla="*/ 817125 h 4810401"/>
                <a:gd name="connsiteX401" fmla="*/ 3398093 w 4810408"/>
                <a:gd name="connsiteY401" fmla="*/ 837352 h 4810401"/>
                <a:gd name="connsiteX402" fmla="*/ 3408073 w 4810408"/>
                <a:gd name="connsiteY402" fmla="*/ 855049 h 4810401"/>
                <a:gd name="connsiteX403" fmla="*/ 3408073 w 4810408"/>
                <a:gd name="connsiteY403" fmla="*/ 870219 h 4810401"/>
                <a:gd name="connsiteX404" fmla="*/ 3413066 w 4810408"/>
                <a:gd name="connsiteY404" fmla="*/ 885388 h 4810401"/>
                <a:gd name="connsiteX405" fmla="*/ 3413066 w 4810408"/>
                <a:gd name="connsiteY405" fmla="*/ 892975 h 4810401"/>
                <a:gd name="connsiteX406" fmla="*/ 3418056 w 4810408"/>
                <a:gd name="connsiteY406" fmla="*/ 898032 h 4810401"/>
                <a:gd name="connsiteX407" fmla="*/ 3245852 w 4810408"/>
                <a:gd name="connsiteY407" fmla="*/ 1181203 h 4810401"/>
                <a:gd name="connsiteX408" fmla="*/ 3228383 w 4810408"/>
                <a:gd name="connsiteY408" fmla="*/ 1181203 h 4810401"/>
                <a:gd name="connsiteX409" fmla="*/ 3213410 w 4810408"/>
                <a:gd name="connsiteY409" fmla="*/ 1186259 h 4810401"/>
                <a:gd name="connsiteX410" fmla="*/ 3195938 w 4810408"/>
                <a:gd name="connsiteY410" fmla="*/ 1186259 h 4810401"/>
                <a:gd name="connsiteX411" fmla="*/ 3185954 w 4810408"/>
                <a:gd name="connsiteY411" fmla="*/ 1186259 h 4810401"/>
                <a:gd name="connsiteX412" fmla="*/ 3170981 w 4810408"/>
                <a:gd name="connsiteY412" fmla="*/ 1186259 h 4810401"/>
                <a:gd name="connsiteX413" fmla="*/ 3160997 w 4810408"/>
                <a:gd name="connsiteY413" fmla="*/ 1181203 h 4810401"/>
                <a:gd name="connsiteX414" fmla="*/ 3148519 w 4810408"/>
                <a:gd name="connsiteY414" fmla="*/ 1181203 h 4810401"/>
                <a:gd name="connsiteX415" fmla="*/ 3138538 w 4810408"/>
                <a:gd name="connsiteY415" fmla="*/ 1181203 h 4810401"/>
                <a:gd name="connsiteX416" fmla="*/ 3118572 w 4810408"/>
                <a:gd name="connsiteY416" fmla="*/ 1173619 h 4810401"/>
                <a:gd name="connsiteX417" fmla="*/ 3103598 w 4810408"/>
                <a:gd name="connsiteY417" fmla="*/ 1163506 h 4810401"/>
                <a:gd name="connsiteX418" fmla="*/ 3096110 w 4810408"/>
                <a:gd name="connsiteY418" fmla="*/ 1153393 h 4810401"/>
                <a:gd name="connsiteX419" fmla="*/ 3086126 w 4810408"/>
                <a:gd name="connsiteY419" fmla="*/ 1138223 h 4810401"/>
                <a:gd name="connsiteX420" fmla="*/ 3076143 w 4810408"/>
                <a:gd name="connsiteY420" fmla="*/ 1125580 h 4810401"/>
                <a:gd name="connsiteX421" fmla="*/ 3071152 w 4810408"/>
                <a:gd name="connsiteY421" fmla="*/ 1110410 h 4810401"/>
                <a:gd name="connsiteX422" fmla="*/ 3066162 w 4810408"/>
                <a:gd name="connsiteY422" fmla="*/ 1100296 h 4810401"/>
                <a:gd name="connsiteX423" fmla="*/ 3066162 w 4810408"/>
                <a:gd name="connsiteY423" fmla="*/ 1085126 h 4810401"/>
                <a:gd name="connsiteX424" fmla="*/ 3061169 w 4810408"/>
                <a:gd name="connsiteY424" fmla="*/ 1072484 h 4810401"/>
                <a:gd name="connsiteX425" fmla="*/ 3066162 w 4810408"/>
                <a:gd name="connsiteY425" fmla="*/ 1062371 h 4810401"/>
                <a:gd name="connsiteX426" fmla="*/ 3223390 w 4810408"/>
                <a:gd name="connsiteY426" fmla="*/ 791842 h 4810401"/>
                <a:gd name="connsiteX427" fmla="*/ 3228383 w 4810408"/>
                <a:gd name="connsiteY427" fmla="*/ 789312 h 4810401"/>
                <a:gd name="connsiteX428" fmla="*/ 3238367 w 4810408"/>
                <a:gd name="connsiteY428" fmla="*/ 784256 h 4810401"/>
                <a:gd name="connsiteX429" fmla="*/ 3243357 w 4810408"/>
                <a:gd name="connsiteY429" fmla="*/ 779199 h 4810401"/>
                <a:gd name="connsiteX430" fmla="*/ 3250845 w 4810408"/>
                <a:gd name="connsiteY430" fmla="*/ 774142 h 4810401"/>
                <a:gd name="connsiteX431" fmla="*/ 3260826 w 4810408"/>
                <a:gd name="connsiteY431" fmla="*/ 769086 h 4810401"/>
                <a:gd name="connsiteX432" fmla="*/ 3270809 w 4810408"/>
                <a:gd name="connsiteY432" fmla="*/ 769086 h 4810401"/>
                <a:gd name="connsiteX433" fmla="*/ 1529950 w 4810408"/>
                <a:gd name="connsiteY433" fmla="*/ 764029 h 4810401"/>
                <a:gd name="connsiteX434" fmla="*/ 1542426 w 4810408"/>
                <a:gd name="connsiteY434" fmla="*/ 764029 h 4810401"/>
                <a:gd name="connsiteX435" fmla="*/ 1552406 w 4810408"/>
                <a:gd name="connsiteY435" fmla="*/ 764029 h 4810401"/>
                <a:gd name="connsiteX436" fmla="*/ 1562386 w 4810408"/>
                <a:gd name="connsiteY436" fmla="*/ 764029 h 4810401"/>
                <a:gd name="connsiteX437" fmla="*/ 1577360 w 4810408"/>
                <a:gd name="connsiteY437" fmla="*/ 764029 h 4810401"/>
                <a:gd name="connsiteX438" fmla="*/ 1587340 w 4810408"/>
                <a:gd name="connsiteY438" fmla="*/ 769086 h 4810401"/>
                <a:gd name="connsiteX439" fmla="*/ 1604806 w 4810408"/>
                <a:gd name="connsiteY439" fmla="*/ 774142 h 4810401"/>
                <a:gd name="connsiteX440" fmla="*/ 1619776 w 4810408"/>
                <a:gd name="connsiteY440" fmla="*/ 784256 h 4810401"/>
                <a:gd name="connsiteX441" fmla="*/ 1629756 w 4810408"/>
                <a:gd name="connsiteY441" fmla="*/ 789312 h 4810401"/>
                <a:gd name="connsiteX442" fmla="*/ 1637245 w 4810408"/>
                <a:gd name="connsiteY442" fmla="*/ 791842 h 4810401"/>
                <a:gd name="connsiteX443" fmla="*/ 1789451 w 4810408"/>
                <a:gd name="connsiteY443" fmla="*/ 1062371 h 4810401"/>
                <a:gd name="connsiteX444" fmla="*/ 1789451 w 4810408"/>
                <a:gd name="connsiteY444" fmla="*/ 1072484 h 4810401"/>
                <a:gd name="connsiteX445" fmla="*/ 1789451 w 4810408"/>
                <a:gd name="connsiteY445" fmla="*/ 1085126 h 4810401"/>
                <a:gd name="connsiteX446" fmla="*/ 1784460 w 4810408"/>
                <a:gd name="connsiteY446" fmla="*/ 1100296 h 4810401"/>
                <a:gd name="connsiteX447" fmla="*/ 1781965 w 4810408"/>
                <a:gd name="connsiteY447" fmla="*/ 1110410 h 4810401"/>
                <a:gd name="connsiteX448" fmla="*/ 1776975 w 4810408"/>
                <a:gd name="connsiteY448" fmla="*/ 1125580 h 4810401"/>
                <a:gd name="connsiteX449" fmla="*/ 1771985 w 4810408"/>
                <a:gd name="connsiteY449" fmla="*/ 1138223 h 4810401"/>
                <a:gd name="connsiteX450" fmla="*/ 1757015 w 4810408"/>
                <a:gd name="connsiteY450" fmla="*/ 1153393 h 4810401"/>
                <a:gd name="connsiteX451" fmla="*/ 1747034 w 4810408"/>
                <a:gd name="connsiteY451" fmla="*/ 1163506 h 4810401"/>
                <a:gd name="connsiteX452" fmla="*/ 1729566 w 4810408"/>
                <a:gd name="connsiteY452" fmla="*/ 1173619 h 4810401"/>
                <a:gd name="connsiteX453" fmla="*/ 1714595 w 4810408"/>
                <a:gd name="connsiteY453" fmla="*/ 1181203 h 4810401"/>
                <a:gd name="connsiteX454" fmla="*/ 1704615 w 4810408"/>
                <a:gd name="connsiteY454" fmla="*/ 1181203 h 4810401"/>
                <a:gd name="connsiteX455" fmla="*/ 1689645 w 4810408"/>
                <a:gd name="connsiteY455" fmla="*/ 1181203 h 4810401"/>
                <a:gd name="connsiteX456" fmla="*/ 1677166 w 4810408"/>
                <a:gd name="connsiteY456" fmla="*/ 1186259 h 4810401"/>
                <a:gd name="connsiteX457" fmla="*/ 1667186 w 4810408"/>
                <a:gd name="connsiteY457" fmla="*/ 1186259 h 4810401"/>
                <a:gd name="connsiteX458" fmla="*/ 1652215 w 4810408"/>
                <a:gd name="connsiteY458" fmla="*/ 1186259 h 4810401"/>
                <a:gd name="connsiteX459" fmla="*/ 1637245 w 4810408"/>
                <a:gd name="connsiteY459" fmla="*/ 1186259 h 4810401"/>
                <a:gd name="connsiteX460" fmla="*/ 1624766 w 4810408"/>
                <a:gd name="connsiteY460" fmla="*/ 1181203 h 4810401"/>
                <a:gd name="connsiteX461" fmla="*/ 1604806 w 4810408"/>
                <a:gd name="connsiteY461" fmla="*/ 1181203 h 4810401"/>
                <a:gd name="connsiteX462" fmla="*/ 1442616 w 4810408"/>
                <a:gd name="connsiteY462" fmla="*/ 898032 h 4810401"/>
                <a:gd name="connsiteX463" fmla="*/ 1442616 w 4810408"/>
                <a:gd name="connsiteY463" fmla="*/ 892975 h 4810401"/>
                <a:gd name="connsiteX464" fmla="*/ 1442616 w 4810408"/>
                <a:gd name="connsiteY464" fmla="*/ 885389 h 4810401"/>
                <a:gd name="connsiteX465" fmla="*/ 1442616 w 4810408"/>
                <a:gd name="connsiteY465" fmla="*/ 870219 h 4810401"/>
                <a:gd name="connsiteX466" fmla="*/ 1447606 w 4810408"/>
                <a:gd name="connsiteY466" fmla="*/ 855049 h 4810401"/>
                <a:gd name="connsiteX467" fmla="*/ 1452597 w 4810408"/>
                <a:gd name="connsiteY467" fmla="*/ 837352 h 4810401"/>
                <a:gd name="connsiteX468" fmla="*/ 1462580 w 4810408"/>
                <a:gd name="connsiteY468" fmla="*/ 817125 h 4810401"/>
                <a:gd name="connsiteX469" fmla="*/ 1477551 w 4810408"/>
                <a:gd name="connsiteY469" fmla="*/ 796899 h 4810401"/>
                <a:gd name="connsiteX470" fmla="*/ 1495016 w 4810408"/>
                <a:gd name="connsiteY470" fmla="*/ 784256 h 4810401"/>
                <a:gd name="connsiteX471" fmla="*/ 1504996 w 4810408"/>
                <a:gd name="connsiteY471" fmla="*/ 774142 h 4810401"/>
                <a:gd name="connsiteX472" fmla="*/ 1519970 w 4810408"/>
                <a:gd name="connsiteY472" fmla="*/ 769086 h 4810401"/>
                <a:gd name="connsiteX473" fmla="*/ 2372531 w 4810408"/>
                <a:gd name="connsiteY473" fmla="*/ 517730 h 4810401"/>
                <a:gd name="connsiteX474" fmla="*/ 2387609 w 4810408"/>
                <a:gd name="connsiteY474" fmla="*/ 517730 h 4810401"/>
                <a:gd name="connsiteX475" fmla="*/ 2402690 w 4810408"/>
                <a:gd name="connsiteY475" fmla="*/ 522730 h 4810401"/>
                <a:gd name="connsiteX476" fmla="*/ 2412743 w 4810408"/>
                <a:gd name="connsiteY476" fmla="*/ 522730 h 4810401"/>
                <a:gd name="connsiteX477" fmla="*/ 2420282 w 4810408"/>
                <a:gd name="connsiteY477" fmla="*/ 522730 h 4810401"/>
                <a:gd name="connsiteX478" fmla="*/ 2435360 w 4810408"/>
                <a:gd name="connsiteY478" fmla="*/ 527729 h 4810401"/>
                <a:gd name="connsiteX479" fmla="*/ 2445413 w 4810408"/>
                <a:gd name="connsiteY479" fmla="*/ 532729 h 4810401"/>
                <a:gd name="connsiteX480" fmla="*/ 2460495 w 4810408"/>
                <a:gd name="connsiteY480" fmla="*/ 547725 h 4810401"/>
                <a:gd name="connsiteX481" fmla="*/ 2478087 w 4810408"/>
                <a:gd name="connsiteY481" fmla="*/ 560222 h 4810401"/>
                <a:gd name="connsiteX482" fmla="*/ 2488140 w 4810408"/>
                <a:gd name="connsiteY482" fmla="*/ 570222 h 4810401"/>
                <a:gd name="connsiteX483" fmla="*/ 2498193 w 4810408"/>
                <a:gd name="connsiteY483" fmla="*/ 585217 h 4810401"/>
                <a:gd name="connsiteX484" fmla="*/ 2508246 w 4810408"/>
                <a:gd name="connsiteY484" fmla="*/ 590217 h 4810401"/>
                <a:gd name="connsiteX485" fmla="*/ 2508246 w 4810408"/>
                <a:gd name="connsiteY485" fmla="*/ 595217 h 4810401"/>
                <a:gd name="connsiteX486" fmla="*/ 2508246 w 4810408"/>
                <a:gd name="connsiteY486" fmla="*/ 917661 h 4810401"/>
                <a:gd name="connsiteX487" fmla="*/ 2488140 w 4810408"/>
                <a:gd name="connsiteY487" fmla="*/ 927657 h 4810401"/>
                <a:gd name="connsiteX488" fmla="*/ 2478087 w 4810408"/>
                <a:gd name="connsiteY488" fmla="*/ 937656 h 4810401"/>
                <a:gd name="connsiteX489" fmla="*/ 2465520 w 4810408"/>
                <a:gd name="connsiteY489" fmla="*/ 945153 h 4810401"/>
                <a:gd name="connsiteX490" fmla="*/ 2455467 w 4810408"/>
                <a:gd name="connsiteY490" fmla="*/ 955153 h 4810401"/>
                <a:gd name="connsiteX491" fmla="*/ 2440388 w 4810408"/>
                <a:gd name="connsiteY491" fmla="*/ 960153 h 4810401"/>
                <a:gd name="connsiteX492" fmla="*/ 2430335 w 4810408"/>
                <a:gd name="connsiteY492" fmla="*/ 965149 h 4810401"/>
                <a:gd name="connsiteX493" fmla="*/ 2420282 w 4810408"/>
                <a:gd name="connsiteY493" fmla="*/ 970148 h 4810401"/>
                <a:gd name="connsiteX494" fmla="*/ 2412743 w 4810408"/>
                <a:gd name="connsiteY494" fmla="*/ 975148 h 4810401"/>
                <a:gd name="connsiteX495" fmla="*/ 2387609 w 4810408"/>
                <a:gd name="connsiteY495" fmla="*/ 975148 h 4810401"/>
                <a:gd name="connsiteX496" fmla="*/ 2372531 w 4810408"/>
                <a:gd name="connsiteY496" fmla="*/ 975148 h 4810401"/>
                <a:gd name="connsiteX497" fmla="*/ 2354935 w 4810408"/>
                <a:gd name="connsiteY497" fmla="*/ 965149 h 4810401"/>
                <a:gd name="connsiteX498" fmla="*/ 2344882 w 4810408"/>
                <a:gd name="connsiteY498" fmla="*/ 965149 h 4810401"/>
                <a:gd name="connsiteX499" fmla="*/ 2324776 w 4810408"/>
                <a:gd name="connsiteY499" fmla="*/ 955153 h 4810401"/>
                <a:gd name="connsiteX500" fmla="*/ 2317237 w 4810408"/>
                <a:gd name="connsiteY500" fmla="*/ 945153 h 4810401"/>
                <a:gd name="connsiteX501" fmla="*/ 2307184 w 4810408"/>
                <a:gd name="connsiteY501" fmla="*/ 937656 h 4810401"/>
                <a:gd name="connsiteX502" fmla="*/ 2302159 w 4810408"/>
                <a:gd name="connsiteY502" fmla="*/ 927657 h 4810401"/>
                <a:gd name="connsiteX503" fmla="*/ 2287078 w 4810408"/>
                <a:gd name="connsiteY503" fmla="*/ 912660 h 4810401"/>
                <a:gd name="connsiteX504" fmla="*/ 2287078 w 4810408"/>
                <a:gd name="connsiteY504" fmla="*/ 907660 h 4810401"/>
                <a:gd name="connsiteX505" fmla="*/ 2287078 w 4810408"/>
                <a:gd name="connsiteY505" fmla="*/ 600216 h 4810401"/>
                <a:gd name="connsiteX506" fmla="*/ 2287078 w 4810408"/>
                <a:gd name="connsiteY506" fmla="*/ 595217 h 4810401"/>
                <a:gd name="connsiteX507" fmla="*/ 2292106 w 4810408"/>
                <a:gd name="connsiteY507" fmla="*/ 585217 h 4810401"/>
                <a:gd name="connsiteX508" fmla="*/ 2302159 w 4810408"/>
                <a:gd name="connsiteY508" fmla="*/ 570222 h 4810401"/>
                <a:gd name="connsiteX509" fmla="*/ 2317237 w 4810408"/>
                <a:gd name="connsiteY509" fmla="*/ 555223 h 4810401"/>
                <a:gd name="connsiteX510" fmla="*/ 2334829 w 4810408"/>
                <a:gd name="connsiteY510" fmla="*/ 537725 h 4810401"/>
                <a:gd name="connsiteX511" fmla="*/ 2354935 w 4810408"/>
                <a:gd name="connsiteY511" fmla="*/ 527729 h 4810401"/>
                <a:gd name="connsiteX512" fmla="*/ 2364988 w 4810408"/>
                <a:gd name="connsiteY512" fmla="*/ 522730 h 4810401"/>
                <a:gd name="connsiteX513" fmla="*/ 2405204 w 4810408"/>
                <a:gd name="connsiteY513" fmla="*/ 310321 h 4810401"/>
                <a:gd name="connsiteX514" fmla="*/ 310320 w 4810408"/>
                <a:gd name="connsiteY514" fmla="*/ 2405200 h 4810401"/>
                <a:gd name="connsiteX515" fmla="*/ 2405204 w 4810408"/>
                <a:gd name="connsiteY515" fmla="*/ 4500081 h 4810401"/>
                <a:gd name="connsiteX516" fmla="*/ 4500088 w 4810408"/>
                <a:gd name="connsiteY516" fmla="*/ 2405200 h 4810401"/>
                <a:gd name="connsiteX517" fmla="*/ 2405204 w 4810408"/>
                <a:gd name="connsiteY517" fmla="*/ 310321 h 4810401"/>
                <a:gd name="connsiteX518" fmla="*/ 2405204 w 4810408"/>
                <a:gd name="connsiteY518" fmla="*/ 0 h 4810401"/>
                <a:gd name="connsiteX519" fmla="*/ 4810408 w 4810408"/>
                <a:gd name="connsiteY519" fmla="*/ 2405200 h 4810401"/>
                <a:gd name="connsiteX520" fmla="*/ 2405204 w 4810408"/>
                <a:gd name="connsiteY520" fmla="*/ 4810401 h 4810401"/>
                <a:gd name="connsiteX521" fmla="*/ 0 w 4810408"/>
                <a:gd name="connsiteY521" fmla="*/ 2405200 h 4810401"/>
                <a:gd name="connsiteX522" fmla="*/ 2405204 w 4810408"/>
                <a:gd name="connsiteY522" fmla="*/ 0 h 481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</a:cxnLst>
              <a:rect l="l" t="t" r="r" b="b"/>
              <a:pathLst>
                <a:path w="4810408" h="4810401">
                  <a:moveTo>
                    <a:pt x="2373437" y="3900602"/>
                  </a:moveTo>
                  <a:lnTo>
                    <a:pt x="2383604" y="3900602"/>
                  </a:lnTo>
                  <a:lnTo>
                    <a:pt x="2398853" y="3900602"/>
                  </a:lnTo>
                  <a:lnTo>
                    <a:pt x="2414103" y="3900602"/>
                  </a:lnTo>
                  <a:lnTo>
                    <a:pt x="2421727" y="3900602"/>
                  </a:lnTo>
                  <a:lnTo>
                    <a:pt x="2436976" y="3905602"/>
                  </a:lnTo>
                  <a:lnTo>
                    <a:pt x="2447140" y="3910602"/>
                  </a:lnTo>
                  <a:lnTo>
                    <a:pt x="2457307" y="3915598"/>
                  </a:lnTo>
                  <a:lnTo>
                    <a:pt x="2475099" y="3925597"/>
                  </a:lnTo>
                  <a:lnTo>
                    <a:pt x="2490348" y="3940593"/>
                  </a:lnTo>
                  <a:lnTo>
                    <a:pt x="2500515" y="3948091"/>
                  </a:lnTo>
                  <a:lnTo>
                    <a:pt x="2510679" y="3958090"/>
                  </a:lnTo>
                  <a:lnTo>
                    <a:pt x="2515764" y="3968087"/>
                  </a:lnTo>
                  <a:lnTo>
                    <a:pt x="2518304" y="3973086"/>
                  </a:lnTo>
                  <a:lnTo>
                    <a:pt x="2515764" y="4295508"/>
                  </a:lnTo>
                  <a:lnTo>
                    <a:pt x="2500515" y="4305504"/>
                  </a:lnTo>
                  <a:lnTo>
                    <a:pt x="2490348" y="4315504"/>
                  </a:lnTo>
                  <a:lnTo>
                    <a:pt x="2475099" y="4325500"/>
                  </a:lnTo>
                  <a:lnTo>
                    <a:pt x="2467474" y="4332998"/>
                  </a:lnTo>
                  <a:lnTo>
                    <a:pt x="2452225" y="4337997"/>
                  </a:lnTo>
                  <a:lnTo>
                    <a:pt x="2442058" y="4342997"/>
                  </a:lnTo>
                  <a:lnTo>
                    <a:pt x="2431891" y="4347997"/>
                  </a:lnTo>
                  <a:lnTo>
                    <a:pt x="2421727" y="4352993"/>
                  </a:lnTo>
                  <a:lnTo>
                    <a:pt x="2398853" y="4352993"/>
                  </a:lnTo>
                  <a:lnTo>
                    <a:pt x="2383604" y="4352993"/>
                  </a:lnTo>
                  <a:lnTo>
                    <a:pt x="2365813" y="4347997"/>
                  </a:lnTo>
                  <a:lnTo>
                    <a:pt x="2355646" y="4342997"/>
                  </a:lnTo>
                  <a:lnTo>
                    <a:pt x="2335315" y="4332998"/>
                  </a:lnTo>
                  <a:lnTo>
                    <a:pt x="2325147" y="4328001"/>
                  </a:lnTo>
                  <a:lnTo>
                    <a:pt x="2312441" y="4320500"/>
                  </a:lnTo>
                  <a:lnTo>
                    <a:pt x="2307356" y="4310504"/>
                  </a:lnTo>
                  <a:lnTo>
                    <a:pt x="2297192" y="4295508"/>
                  </a:lnTo>
                  <a:lnTo>
                    <a:pt x="2292107" y="4290509"/>
                  </a:lnTo>
                  <a:lnTo>
                    <a:pt x="2292107" y="3973086"/>
                  </a:lnTo>
                  <a:lnTo>
                    <a:pt x="2302274" y="3963087"/>
                  </a:lnTo>
                  <a:lnTo>
                    <a:pt x="2312441" y="3943091"/>
                  </a:lnTo>
                  <a:lnTo>
                    <a:pt x="2325147" y="3935594"/>
                  </a:lnTo>
                  <a:lnTo>
                    <a:pt x="2340397" y="3915598"/>
                  </a:lnTo>
                  <a:lnTo>
                    <a:pt x="2365813" y="3905602"/>
                  </a:lnTo>
                  <a:close/>
                  <a:moveTo>
                    <a:pt x="3151061" y="3659326"/>
                  </a:moveTo>
                  <a:lnTo>
                    <a:pt x="3166035" y="3659326"/>
                  </a:lnTo>
                  <a:lnTo>
                    <a:pt x="3176018" y="3659326"/>
                  </a:lnTo>
                  <a:lnTo>
                    <a:pt x="3190995" y="3659326"/>
                  </a:lnTo>
                  <a:lnTo>
                    <a:pt x="3198484" y="3659326"/>
                  </a:lnTo>
                  <a:lnTo>
                    <a:pt x="3218450" y="3659326"/>
                  </a:lnTo>
                  <a:lnTo>
                    <a:pt x="3233427" y="3659326"/>
                  </a:lnTo>
                  <a:lnTo>
                    <a:pt x="3250899" y="3669380"/>
                  </a:lnTo>
                  <a:lnTo>
                    <a:pt x="3428110" y="3950867"/>
                  </a:lnTo>
                  <a:lnTo>
                    <a:pt x="3423119" y="3950867"/>
                  </a:lnTo>
                  <a:lnTo>
                    <a:pt x="3423119" y="3960920"/>
                  </a:lnTo>
                  <a:lnTo>
                    <a:pt x="3423119" y="3970973"/>
                  </a:lnTo>
                  <a:lnTo>
                    <a:pt x="3418126" y="3988565"/>
                  </a:lnTo>
                  <a:lnTo>
                    <a:pt x="3408143" y="4008672"/>
                  </a:lnTo>
                  <a:lnTo>
                    <a:pt x="3403149" y="4028778"/>
                  </a:lnTo>
                  <a:lnTo>
                    <a:pt x="3390671" y="4041345"/>
                  </a:lnTo>
                  <a:lnTo>
                    <a:pt x="3370704" y="4066480"/>
                  </a:lnTo>
                  <a:lnTo>
                    <a:pt x="3360720" y="4066480"/>
                  </a:lnTo>
                  <a:lnTo>
                    <a:pt x="3345744" y="4076533"/>
                  </a:lnTo>
                  <a:lnTo>
                    <a:pt x="3338255" y="4076533"/>
                  </a:lnTo>
                  <a:lnTo>
                    <a:pt x="3328272" y="4081558"/>
                  </a:lnTo>
                  <a:lnTo>
                    <a:pt x="3313298" y="4081558"/>
                  </a:lnTo>
                  <a:lnTo>
                    <a:pt x="3303312" y="4081558"/>
                  </a:lnTo>
                  <a:lnTo>
                    <a:pt x="3290833" y="4076533"/>
                  </a:lnTo>
                  <a:lnTo>
                    <a:pt x="3280850" y="4076533"/>
                  </a:lnTo>
                  <a:lnTo>
                    <a:pt x="3260883" y="4066480"/>
                  </a:lnTo>
                  <a:lnTo>
                    <a:pt x="3245906" y="4061451"/>
                  </a:lnTo>
                  <a:lnTo>
                    <a:pt x="3238417" y="4056426"/>
                  </a:lnTo>
                  <a:lnTo>
                    <a:pt x="3233427" y="4056426"/>
                  </a:lnTo>
                  <a:lnTo>
                    <a:pt x="3071190" y="3790017"/>
                  </a:lnTo>
                  <a:lnTo>
                    <a:pt x="3066197" y="3784992"/>
                  </a:lnTo>
                  <a:lnTo>
                    <a:pt x="3066197" y="3779964"/>
                  </a:lnTo>
                  <a:lnTo>
                    <a:pt x="3066197" y="3769911"/>
                  </a:lnTo>
                  <a:lnTo>
                    <a:pt x="3071190" y="3759858"/>
                  </a:lnTo>
                  <a:lnTo>
                    <a:pt x="3071190" y="3744780"/>
                  </a:lnTo>
                  <a:lnTo>
                    <a:pt x="3076181" y="3737237"/>
                  </a:lnTo>
                  <a:lnTo>
                    <a:pt x="3081174" y="3722159"/>
                  </a:lnTo>
                  <a:lnTo>
                    <a:pt x="3091157" y="3712106"/>
                  </a:lnTo>
                  <a:lnTo>
                    <a:pt x="3098646" y="3697025"/>
                  </a:lnTo>
                  <a:lnTo>
                    <a:pt x="3108629" y="3684461"/>
                  </a:lnTo>
                  <a:lnTo>
                    <a:pt x="3123606" y="3674408"/>
                  </a:lnTo>
                  <a:lnTo>
                    <a:pt x="3143573" y="3664355"/>
                  </a:lnTo>
                  <a:close/>
                  <a:moveTo>
                    <a:pt x="1637371" y="3659326"/>
                  </a:moveTo>
                  <a:lnTo>
                    <a:pt x="1657335" y="3659326"/>
                  </a:lnTo>
                  <a:lnTo>
                    <a:pt x="1667316" y="3659326"/>
                  </a:lnTo>
                  <a:lnTo>
                    <a:pt x="1684784" y="3659326"/>
                  </a:lnTo>
                  <a:lnTo>
                    <a:pt x="1694768" y="3659326"/>
                  </a:lnTo>
                  <a:lnTo>
                    <a:pt x="1709738" y="3659326"/>
                  </a:lnTo>
                  <a:lnTo>
                    <a:pt x="1719722" y="3659326"/>
                  </a:lnTo>
                  <a:lnTo>
                    <a:pt x="1729702" y="3664355"/>
                  </a:lnTo>
                  <a:lnTo>
                    <a:pt x="1747171" y="3674408"/>
                  </a:lnTo>
                  <a:lnTo>
                    <a:pt x="1762144" y="3684461"/>
                  </a:lnTo>
                  <a:lnTo>
                    <a:pt x="1777118" y="3697025"/>
                  </a:lnTo>
                  <a:lnTo>
                    <a:pt x="1784603" y="3712106"/>
                  </a:lnTo>
                  <a:lnTo>
                    <a:pt x="1789593" y="3722159"/>
                  </a:lnTo>
                  <a:lnTo>
                    <a:pt x="1799577" y="3737237"/>
                  </a:lnTo>
                  <a:lnTo>
                    <a:pt x="1799577" y="3744780"/>
                  </a:lnTo>
                  <a:lnTo>
                    <a:pt x="1804567" y="3759858"/>
                  </a:lnTo>
                  <a:lnTo>
                    <a:pt x="1804567" y="3769911"/>
                  </a:lnTo>
                  <a:lnTo>
                    <a:pt x="1804567" y="3779964"/>
                  </a:lnTo>
                  <a:lnTo>
                    <a:pt x="1804567" y="3784992"/>
                  </a:lnTo>
                  <a:lnTo>
                    <a:pt x="1809557" y="3790017"/>
                  </a:lnTo>
                  <a:lnTo>
                    <a:pt x="1642362" y="4056426"/>
                  </a:lnTo>
                  <a:lnTo>
                    <a:pt x="1637371" y="4056426"/>
                  </a:lnTo>
                  <a:lnTo>
                    <a:pt x="1629886" y="4061451"/>
                  </a:lnTo>
                  <a:lnTo>
                    <a:pt x="1614913" y="4066480"/>
                  </a:lnTo>
                  <a:lnTo>
                    <a:pt x="1594949" y="4076533"/>
                  </a:lnTo>
                  <a:lnTo>
                    <a:pt x="1587464" y="4076533"/>
                  </a:lnTo>
                  <a:lnTo>
                    <a:pt x="1572490" y="4081558"/>
                  </a:lnTo>
                  <a:lnTo>
                    <a:pt x="1562507" y="4081558"/>
                  </a:lnTo>
                  <a:lnTo>
                    <a:pt x="1552526" y="4081558"/>
                  </a:lnTo>
                  <a:lnTo>
                    <a:pt x="1540048" y="4076533"/>
                  </a:lnTo>
                  <a:lnTo>
                    <a:pt x="1530067" y="4076533"/>
                  </a:lnTo>
                  <a:lnTo>
                    <a:pt x="1520084" y="4066480"/>
                  </a:lnTo>
                  <a:lnTo>
                    <a:pt x="1510104" y="4066480"/>
                  </a:lnTo>
                  <a:lnTo>
                    <a:pt x="1490140" y="4041345"/>
                  </a:lnTo>
                  <a:lnTo>
                    <a:pt x="1477661" y="4028778"/>
                  </a:lnTo>
                  <a:lnTo>
                    <a:pt x="1467681" y="4008672"/>
                  </a:lnTo>
                  <a:lnTo>
                    <a:pt x="1462688" y="3988565"/>
                  </a:lnTo>
                  <a:lnTo>
                    <a:pt x="1457698" y="3970973"/>
                  </a:lnTo>
                  <a:lnTo>
                    <a:pt x="1457698" y="3960920"/>
                  </a:lnTo>
                  <a:lnTo>
                    <a:pt x="1457698" y="3950867"/>
                  </a:lnTo>
                  <a:lnTo>
                    <a:pt x="1624893" y="3669380"/>
                  </a:lnTo>
                  <a:close/>
                  <a:moveTo>
                    <a:pt x="3774940" y="3076246"/>
                  </a:moveTo>
                  <a:lnTo>
                    <a:pt x="3792535" y="3076246"/>
                  </a:lnTo>
                  <a:lnTo>
                    <a:pt x="4056430" y="3265938"/>
                  </a:lnTo>
                  <a:lnTo>
                    <a:pt x="4061455" y="3280915"/>
                  </a:lnTo>
                  <a:lnTo>
                    <a:pt x="4066483" y="3290899"/>
                  </a:lnTo>
                  <a:lnTo>
                    <a:pt x="4071508" y="3308371"/>
                  </a:lnTo>
                  <a:lnTo>
                    <a:pt x="4071508" y="3313361"/>
                  </a:lnTo>
                  <a:lnTo>
                    <a:pt x="4071508" y="3328337"/>
                  </a:lnTo>
                  <a:lnTo>
                    <a:pt x="4071508" y="3338321"/>
                  </a:lnTo>
                  <a:lnTo>
                    <a:pt x="4071508" y="3348304"/>
                  </a:lnTo>
                  <a:lnTo>
                    <a:pt x="4066483" y="3360786"/>
                  </a:lnTo>
                  <a:lnTo>
                    <a:pt x="4061455" y="3370770"/>
                  </a:lnTo>
                  <a:lnTo>
                    <a:pt x="4056430" y="3380753"/>
                  </a:lnTo>
                  <a:lnTo>
                    <a:pt x="4056430" y="3395730"/>
                  </a:lnTo>
                  <a:lnTo>
                    <a:pt x="4046377" y="3403215"/>
                  </a:lnTo>
                  <a:lnTo>
                    <a:pt x="4036324" y="3413198"/>
                  </a:lnTo>
                  <a:lnTo>
                    <a:pt x="4026271" y="3418192"/>
                  </a:lnTo>
                  <a:lnTo>
                    <a:pt x="4018729" y="3423185"/>
                  </a:lnTo>
                  <a:lnTo>
                    <a:pt x="4008676" y="3428175"/>
                  </a:lnTo>
                  <a:lnTo>
                    <a:pt x="3998622" y="3433169"/>
                  </a:lnTo>
                  <a:lnTo>
                    <a:pt x="3983544" y="3433169"/>
                  </a:lnTo>
                  <a:lnTo>
                    <a:pt x="3976005" y="3438159"/>
                  </a:lnTo>
                  <a:lnTo>
                    <a:pt x="3965952" y="3438159"/>
                  </a:lnTo>
                  <a:lnTo>
                    <a:pt x="3950871" y="3438159"/>
                  </a:lnTo>
                  <a:lnTo>
                    <a:pt x="3940818" y="3438159"/>
                  </a:lnTo>
                  <a:lnTo>
                    <a:pt x="3935793" y="3438159"/>
                  </a:lnTo>
                  <a:lnTo>
                    <a:pt x="3928251" y="3438159"/>
                  </a:lnTo>
                  <a:lnTo>
                    <a:pt x="3923226" y="3438159"/>
                  </a:lnTo>
                  <a:lnTo>
                    <a:pt x="3669383" y="3258450"/>
                  </a:lnTo>
                  <a:lnTo>
                    <a:pt x="3664355" y="3253460"/>
                  </a:lnTo>
                  <a:lnTo>
                    <a:pt x="3664355" y="3248467"/>
                  </a:lnTo>
                  <a:lnTo>
                    <a:pt x="3659330" y="3238483"/>
                  </a:lnTo>
                  <a:lnTo>
                    <a:pt x="3659330" y="3228500"/>
                  </a:lnTo>
                  <a:lnTo>
                    <a:pt x="3654302" y="3218516"/>
                  </a:lnTo>
                  <a:lnTo>
                    <a:pt x="3654302" y="3206038"/>
                  </a:lnTo>
                  <a:lnTo>
                    <a:pt x="3654302" y="3191061"/>
                  </a:lnTo>
                  <a:lnTo>
                    <a:pt x="3659330" y="3176084"/>
                  </a:lnTo>
                  <a:lnTo>
                    <a:pt x="3659330" y="3158612"/>
                  </a:lnTo>
                  <a:lnTo>
                    <a:pt x="3669383" y="3143639"/>
                  </a:lnTo>
                  <a:lnTo>
                    <a:pt x="3679437" y="3128662"/>
                  </a:lnTo>
                  <a:lnTo>
                    <a:pt x="3692004" y="3116183"/>
                  </a:lnTo>
                  <a:lnTo>
                    <a:pt x="3697029" y="3111190"/>
                  </a:lnTo>
                  <a:lnTo>
                    <a:pt x="3712110" y="3106200"/>
                  </a:lnTo>
                  <a:lnTo>
                    <a:pt x="3722163" y="3096213"/>
                  </a:lnTo>
                  <a:lnTo>
                    <a:pt x="3732216" y="3091223"/>
                  </a:lnTo>
                  <a:lnTo>
                    <a:pt x="3744780" y="3086230"/>
                  </a:lnTo>
                  <a:lnTo>
                    <a:pt x="3759862" y="3081240"/>
                  </a:lnTo>
                  <a:close/>
                  <a:moveTo>
                    <a:pt x="1083217" y="3076246"/>
                  </a:moveTo>
                  <a:lnTo>
                    <a:pt x="1098295" y="3076246"/>
                  </a:lnTo>
                  <a:lnTo>
                    <a:pt x="1110862" y="3081240"/>
                  </a:lnTo>
                  <a:lnTo>
                    <a:pt x="1125944" y="3086230"/>
                  </a:lnTo>
                  <a:lnTo>
                    <a:pt x="1141022" y="3091223"/>
                  </a:lnTo>
                  <a:lnTo>
                    <a:pt x="1153589" y="3096213"/>
                  </a:lnTo>
                  <a:lnTo>
                    <a:pt x="1163642" y="3106200"/>
                  </a:lnTo>
                  <a:lnTo>
                    <a:pt x="1173695" y="3111190"/>
                  </a:lnTo>
                  <a:lnTo>
                    <a:pt x="1183748" y="3116183"/>
                  </a:lnTo>
                  <a:lnTo>
                    <a:pt x="1193801" y="3128662"/>
                  </a:lnTo>
                  <a:lnTo>
                    <a:pt x="1206369" y="3143639"/>
                  </a:lnTo>
                  <a:lnTo>
                    <a:pt x="1211394" y="3158612"/>
                  </a:lnTo>
                  <a:lnTo>
                    <a:pt x="1216422" y="3176084"/>
                  </a:lnTo>
                  <a:lnTo>
                    <a:pt x="1216422" y="3191061"/>
                  </a:lnTo>
                  <a:lnTo>
                    <a:pt x="1221447" y="3206038"/>
                  </a:lnTo>
                  <a:lnTo>
                    <a:pt x="1216422" y="3218516"/>
                  </a:lnTo>
                  <a:lnTo>
                    <a:pt x="1216422" y="3228500"/>
                  </a:lnTo>
                  <a:lnTo>
                    <a:pt x="1211394" y="3238483"/>
                  </a:lnTo>
                  <a:lnTo>
                    <a:pt x="1211394" y="3248467"/>
                  </a:lnTo>
                  <a:lnTo>
                    <a:pt x="1211394" y="3253460"/>
                  </a:lnTo>
                  <a:lnTo>
                    <a:pt x="1211394" y="3258450"/>
                  </a:lnTo>
                  <a:lnTo>
                    <a:pt x="957551" y="3438159"/>
                  </a:lnTo>
                  <a:lnTo>
                    <a:pt x="950012" y="3438159"/>
                  </a:lnTo>
                  <a:lnTo>
                    <a:pt x="939959" y="3438159"/>
                  </a:lnTo>
                  <a:lnTo>
                    <a:pt x="919853" y="3438159"/>
                  </a:lnTo>
                  <a:lnTo>
                    <a:pt x="904775" y="3438159"/>
                  </a:lnTo>
                  <a:lnTo>
                    <a:pt x="892208" y="3433169"/>
                  </a:lnTo>
                  <a:lnTo>
                    <a:pt x="882155" y="3433169"/>
                  </a:lnTo>
                  <a:lnTo>
                    <a:pt x="872101" y="3428175"/>
                  </a:lnTo>
                  <a:lnTo>
                    <a:pt x="862048" y="3423185"/>
                  </a:lnTo>
                  <a:lnTo>
                    <a:pt x="849481" y="3418192"/>
                  </a:lnTo>
                  <a:lnTo>
                    <a:pt x="844456" y="3413198"/>
                  </a:lnTo>
                  <a:lnTo>
                    <a:pt x="834403" y="3403215"/>
                  </a:lnTo>
                  <a:lnTo>
                    <a:pt x="829375" y="3395730"/>
                  </a:lnTo>
                  <a:lnTo>
                    <a:pt x="819322" y="3380753"/>
                  </a:lnTo>
                  <a:lnTo>
                    <a:pt x="814297" y="3370770"/>
                  </a:lnTo>
                  <a:lnTo>
                    <a:pt x="814297" y="3360786"/>
                  </a:lnTo>
                  <a:lnTo>
                    <a:pt x="809269" y="3348304"/>
                  </a:lnTo>
                  <a:lnTo>
                    <a:pt x="809269" y="3338321"/>
                  </a:lnTo>
                  <a:lnTo>
                    <a:pt x="809269" y="3328337"/>
                  </a:lnTo>
                  <a:lnTo>
                    <a:pt x="809269" y="3313361"/>
                  </a:lnTo>
                  <a:lnTo>
                    <a:pt x="809269" y="3308371"/>
                  </a:lnTo>
                  <a:lnTo>
                    <a:pt x="809269" y="3290899"/>
                  </a:lnTo>
                  <a:lnTo>
                    <a:pt x="814297" y="3280915"/>
                  </a:lnTo>
                  <a:lnTo>
                    <a:pt x="814297" y="3265938"/>
                  </a:lnTo>
                  <a:lnTo>
                    <a:pt x="819322" y="3265938"/>
                  </a:lnTo>
                  <a:close/>
                  <a:moveTo>
                    <a:pt x="650509" y="2294616"/>
                  </a:moveTo>
                  <a:lnTo>
                    <a:pt x="962954" y="2294616"/>
                  </a:lnTo>
                  <a:lnTo>
                    <a:pt x="967954" y="2294616"/>
                  </a:lnTo>
                  <a:lnTo>
                    <a:pt x="982950" y="2309362"/>
                  </a:lnTo>
                  <a:lnTo>
                    <a:pt x="992949" y="2314276"/>
                  </a:lnTo>
                  <a:lnTo>
                    <a:pt x="1000447" y="2324108"/>
                  </a:lnTo>
                  <a:lnTo>
                    <a:pt x="1005446" y="2333936"/>
                  </a:lnTo>
                  <a:lnTo>
                    <a:pt x="1020445" y="2351139"/>
                  </a:lnTo>
                  <a:lnTo>
                    <a:pt x="1020445" y="2365881"/>
                  </a:lnTo>
                  <a:lnTo>
                    <a:pt x="1030442" y="2380627"/>
                  </a:lnTo>
                  <a:lnTo>
                    <a:pt x="1025442" y="2397829"/>
                  </a:lnTo>
                  <a:lnTo>
                    <a:pt x="1025442" y="2417489"/>
                  </a:lnTo>
                  <a:lnTo>
                    <a:pt x="1020445" y="2427318"/>
                  </a:lnTo>
                  <a:lnTo>
                    <a:pt x="1020445" y="2437149"/>
                  </a:lnTo>
                  <a:lnTo>
                    <a:pt x="1015446" y="2444520"/>
                  </a:lnTo>
                  <a:lnTo>
                    <a:pt x="1005446" y="2459266"/>
                  </a:lnTo>
                  <a:lnTo>
                    <a:pt x="1000447" y="2469094"/>
                  </a:lnTo>
                  <a:lnTo>
                    <a:pt x="992949" y="2483840"/>
                  </a:lnTo>
                  <a:lnTo>
                    <a:pt x="982950" y="2496125"/>
                  </a:lnTo>
                  <a:lnTo>
                    <a:pt x="972953" y="2505957"/>
                  </a:lnTo>
                  <a:lnTo>
                    <a:pt x="650509" y="2515785"/>
                  </a:lnTo>
                  <a:lnTo>
                    <a:pt x="645510" y="2510871"/>
                  </a:lnTo>
                  <a:lnTo>
                    <a:pt x="635514" y="2505957"/>
                  </a:lnTo>
                  <a:lnTo>
                    <a:pt x="625514" y="2496125"/>
                  </a:lnTo>
                  <a:lnTo>
                    <a:pt x="613017" y="2486297"/>
                  </a:lnTo>
                  <a:lnTo>
                    <a:pt x="603018" y="2469094"/>
                  </a:lnTo>
                  <a:lnTo>
                    <a:pt x="588022" y="2449434"/>
                  </a:lnTo>
                  <a:lnTo>
                    <a:pt x="583022" y="2439606"/>
                  </a:lnTo>
                  <a:lnTo>
                    <a:pt x="578023" y="2432232"/>
                  </a:lnTo>
                  <a:lnTo>
                    <a:pt x="573023" y="2417489"/>
                  </a:lnTo>
                  <a:lnTo>
                    <a:pt x="573023" y="2407658"/>
                  </a:lnTo>
                  <a:lnTo>
                    <a:pt x="573023" y="2392915"/>
                  </a:lnTo>
                  <a:lnTo>
                    <a:pt x="573023" y="2380627"/>
                  </a:lnTo>
                  <a:lnTo>
                    <a:pt x="578023" y="2370798"/>
                  </a:lnTo>
                  <a:lnTo>
                    <a:pt x="583022" y="2360967"/>
                  </a:lnTo>
                  <a:lnTo>
                    <a:pt x="593021" y="2343764"/>
                  </a:lnTo>
                  <a:lnTo>
                    <a:pt x="613017" y="2324108"/>
                  </a:lnTo>
                  <a:lnTo>
                    <a:pt x="620515" y="2309362"/>
                  </a:lnTo>
                  <a:lnTo>
                    <a:pt x="640510" y="2299530"/>
                  </a:lnTo>
                  <a:close/>
                  <a:moveTo>
                    <a:pt x="3918197" y="1397374"/>
                  </a:moveTo>
                  <a:lnTo>
                    <a:pt x="3923226" y="1397374"/>
                  </a:lnTo>
                  <a:lnTo>
                    <a:pt x="3930765" y="1397374"/>
                  </a:lnTo>
                  <a:lnTo>
                    <a:pt x="3935793" y="1397374"/>
                  </a:lnTo>
                  <a:lnTo>
                    <a:pt x="3945846" y="1397374"/>
                  </a:lnTo>
                  <a:lnTo>
                    <a:pt x="3955899" y="1397374"/>
                  </a:lnTo>
                  <a:lnTo>
                    <a:pt x="3970977" y="1397374"/>
                  </a:lnTo>
                  <a:lnTo>
                    <a:pt x="3978516" y="1397374"/>
                  </a:lnTo>
                  <a:lnTo>
                    <a:pt x="3988569" y="1402402"/>
                  </a:lnTo>
                  <a:lnTo>
                    <a:pt x="3998622" y="1402402"/>
                  </a:lnTo>
                  <a:lnTo>
                    <a:pt x="4013704" y="1412455"/>
                  </a:lnTo>
                  <a:lnTo>
                    <a:pt x="4023757" y="1417480"/>
                  </a:lnTo>
                  <a:lnTo>
                    <a:pt x="4031296" y="1422508"/>
                  </a:lnTo>
                  <a:lnTo>
                    <a:pt x="4036324" y="1435075"/>
                  </a:lnTo>
                  <a:lnTo>
                    <a:pt x="4046377" y="1445129"/>
                  </a:lnTo>
                  <a:lnTo>
                    <a:pt x="4056430" y="1465235"/>
                  </a:lnTo>
                  <a:lnTo>
                    <a:pt x="4066483" y="1482827"/>
                  </a:lnTo>
                  <a:lnTo>
                    <a:pt x="4066483" y="1497905"/>
                  </a:lnTo>
                  <a:lnTo>
                    <a:pt x="4066483" y="1507958"/>
                  </a:lnTo>
                  <a:lnTo>
                    <a:pt x="4066483" y="1518011"/>
                  </a:lnTo>
                  <a:lnTo>
                    <a:pt x="4071508" y="1525553"/>
                  </a:lnTo>
                  <a:lnTo>
                    <a:pt x="4066483" y="1545660"/>
                  </a:lnTo>
                  <a:lnTo>
                    <a:pt x="4061455" y="1555713"/>
                  </a:lnTo>
                  <a:lnTo>
                    <a:pt x="4056430" y="1568277"/>
                  </a:lnTo>
                  <a:lnTo>
                    <a:pt x="3792535" y="1764314"/>
                  </a:lnTo>
                  <a:lnTo>
                    <a:pt x="3774940" y="1761800"/>
                  </a:lnTo>
                  <a:lnTo>
                    <a:pt x="3759862" y="1756775"/>
                  </a:lnTo>
                  <a:lnTo>
                    <a:pt x="3744780" y="1751747"/>
                  </a:lnTo>
                  <a:lnTo>
                    <a:pt x="3732216" y="1751747"/>
                  </a:lnTo>
                  <a:lnTo>
                    <a:pt x="3722163" y="1741694"/>
                  </a:lnTo>
                  <a:lnTo>
                    <a:pt x="3712110" y="1736669"/>
                  </a:lnTo>
                  <a:lnTo>
                    <a:pt x="3697029" y="1731641"/>
                  </a:lnTo>
                  <a:lnTo>
                    <a:pt x="3692004" y="1726616"/>
                  </a:lnTo>
                  <a:lnTo>
                    <a:pt x="3679437" y="1714049"/>
                  </a:lnTo>
                  <a:lnTo>
                    <a:pt x="3669383" y="1698971"/>
                  </a:lnTo>
                  <a:lnTo>
                    <a:pt x="3659330" y="1683889"/>
                  </a:lnTo>
                  <a:lnTo>
                    <a:pt x="3659330" y="1668811"/>
                  </a:lnTo>
                  <a:lnTo>
                    <a:pt x="3654302" y="1651216"/>
                  </a:lnTo>
                  <a:lnTo>
                    <a:pt x="3654302" y="1641163"/>
                  </a:lnTo>
                  <a:lnTo>
                    <a:pt x="3659330" y="1626085"/>
                  </a:lnTo>
                  <a:lnTo>
                    <a:pt x="3659330" y="1616032"/>
                  </a:lnTo>
                  <a:lnTo>
                    <a:pt x="3659330" y="1603464"/>
                  </a:lnTo>
                  <a:lnTo>
                    <a:pt x="3664355" y="1598439"/>
                  </a:lnTo>
                  <a:lnTo>
                    <a:pt x="3664355" y="1593411"/>
                  </a:lnTo>
                  <a:lnTo>
                    <a:pt x="3669383" y="1593411"/>
                  </a:lnTo>
                  <a:close/>
                  <a:moveTo>
                    <a:pt x="870113" y="1397374"/>
                  </a:moveTo>
                  <a:lnTo>
                    <a:pt x="885286" y="1397374"/>
                  </a:lnTo>
                  <a:lnTo>
                    <a:pt x="902986" y="1397374"/>
                  </a:lnTo>
                  <a:lnTo>
                    <a:pt x="918159" y="1397374"/>
                  </a:lnTo>
                  <a:lnTo>
                    <a:pt x="933332" y="1397374"/>
                  </a:lnTo>
                  <a:lnTo>
                    <a:pt x="938389" y="1397374"/>
                  </a:lnTo>
                  <a:lnTo>
                    <a:pt x="1193789" y="1593411"/>
                  </a:lnTo>
                  <a:lnTo>
                    <a:pt x="1193789" y="1598439"/>
                  </a:lnTo>
                  <a:lnTo>
                    <a:pt x="1193789" y="1603464"/>
                  </a:lnTo>
                  <a:lnTo>
                    <a:pt x="1196315" y="1616032"/>
                  </a:lnTo>
                  <a:lnTo>
                    <a:pt x="1196315" y="1626085"/>
                  </a:lnTo>
                  <a:lnTo>
                    <a:pt x="1196315" y="1641163"/>
                  </a:lnTo>
                  <a:lnTo>
                    <a:pt x="1196315" y="1651216"/>
                  </a:lnTo>
                  <a:lnTo>
                    <a:pt x="1196315" y="1668811"/>
                  </a:lnTo>
                  <a:lnTo>
                    <a:pt x="1193789" y="1683889"/>
                  </a:lnTo>
                  <a:lnTo>
                    <a:pt x="1183672" y="1698971"/>
                  </a:lnTo>
                  <a:lnTo>
                    <a:pt x="1173559" y="1714049"/>
                  </a:lnTo>
                  <a:lnTo>
                    <a:pt x="1163443" y="1726616"/>
                  </a:lnTo>
                  <a:lnTo>
                    <a:pt x="1153329" y="1731641"/>
                  </a:lnTo>
                  <a:lnTo>
                    <a:pt x="1140686" y="1736669"/>
                  </a:lnTo>
                  <a:lnTo>
                    <a:pt x="1130570" y="1741694"/>
                  </a:lnTo>
                  <a:lnTo>
                    <a:pt x="1120456" y="1751747"/>
                  </a:lnTo>
                  <a:lnTo>
                    <a:pt x="1105283" y="1751747"/>
                  </a:lnTo>
                  <a:lnTo>
                    <a:pt x="1092640" y="1756775"/>
                  </a:lnTo>
                  <a:lnTo>
                    <a:pt x="1077467" y="1761800"/>
                  </a:lnTo>
                  <a:lnTo>
                    <a:pt x="1062294" y="1764314"/>
                  </a:lnTo>
                  <a:lnTo>
                    <a:pt x="799311" y="1568277"/>
                  </a:lnTo>
                  <a:lnTo>
                    <a:pt x="794254" y="1568277"/>
                  </a:lnTo>
                  <a:lnTo>
                    <a:pt x="789194" y="1555713"/>
                  </a:lnTo>
                  <a:lnTo>
                    <a:pt x="789194" y="1545660"/>
                  </a:lnTo>
                  <a:lnTo>
                    <a:pt x="789194" y="1525553"/>
                  </a:lnTo>
                  <a:lnTo>
                    <a:pt x="784137" y="1518011"/>
                  </a:lnTo>
                  <a:lnTo>
                    <a:pt x="784137" y="1507958"/>
                  </a:lnTo>
                  <a:lnTo>
                    <a:pt x="784137" y="1497905"/>
                  </a:lnTo>
                  <a:lnTo>
                    <a:pt x="789194" y="1482827"/>
                  </a:lnTo>
                  <a:lnTo>
                    <a:pt x="794254" y="1465235"/>
                  </a:lnTo>
                  <a:lnTo>
                    <a:pt x="801840" y="1445129"/>
                  </a:lnTo>
                  <a:lnTo>
                    <a:pt x="811954" y="1435075"/>
                  </a:lnTo>
                  <a:lnTo>
                    <a:pt x="817010" y="1422508"/>
                  </a:lnTo>
                  <a:lnTo>
                    <a:pt x="827127" y="1417480"/>
                  </a:lnTo>
                  <a:lnTo>
                    <a:pt x="837240" y="1412455"/>
                  </a:lnTo>
                  <a:lnTo>
                    <a:pt x="847357" y="1402402"/>
                  </a:lnTo>
                  <a:lnTo>
                    <a:pt x="860000" y="1402402"/>
                  </a:lnTo>
                  <a:close/>
                  <a:moveTo>
                    <a:pt x="3001594" y="1380233"/>
                  </a:moveTo>
                  <a:cubicBezTo>
                    <a:pt x="3018790" y="1383172"/>
                    <a:pt x="3035693" y="1389532"/>
                    <a:pt x="3051309" y="1399530"/>
                  </a:cubicBezTo>
                  <a:cubicBezTo>
                    <a:pt x="3113774" y="1439522"/>
                    <a:pt x="3131992" y="1522578"/>
                    <a:pt x="3092000" y="1585043"/>
                  </a:cubicBezTo>
                  <a:lnTo>
                    <a:pt x="2675803" y="2235120"/>
                  </a:lnTo>
                  <a:lnTo>
                    <a:pt x="2702736" y="2279511"/>
                  </a:lnTo>
                  <a:lnTo>
                    <a:pt x="2705100" y="2287126"/>
                  </a:lnTo>
                  <a:lnTo>
                    <a:pt x="4182142" y="2287126"/>
                  </a:lnTo>
                  <a:lnTo>
                    <a:pt x="4219241" y="2294616"/>
                  </a:lnTo>
                  <a:lnTo>
                    <a:pt x="4232729" y="2294616"/>
                  </a:lnTo>
                  <a:lnTo>
                    <a:pt x="4237729" y="2294616"/>
                  </a:lnTo>
                  <a:lnTo>
                    <a:pt x="4252725" y="2309362"/>
                  </a:lnTo>
                  <a:lnTo>
                    <a:pt x="4262724" y="2314276"/>
                  </a:lnTo>
                  <a:lnTo>
                    <a:pt x="4270222" y="2324108"/>
                  </a:lnTo>
                  <a:lnTo>
                    <a:pt x="4275221" y="2333936"/>
                  </a:lnTo>
                  <a:lnTo>
                    <a:pt x="4290220" y="2351139"/>
                  </a:lnTo>
                  <a:lnTo>
                    <a:pt x="4290220" y="2358176"/>
                  </a:lnTo>
                  <a:lnTo>
                    <a:pt x="4290938" y="2359241"/>
                  </a:lnTo>
                  <a:lnTo>
                    <a:pt x="4293152" y="2370206"/>
                  </a:lnTo>
                  <a:lnTo>
                    <a:pt x="4300217" y="2380627"/>
                  </a:lnTo>
                  <a:lnTo>
                    <a:pt x="4297290" y="2390700"/>
                  </a:lnTo>
                  <a:lnTo>
                    <a:pt x="4300217" y="2405201"/>
                  </a:lnTo>
                  <a:lnTo>
                    <a:pt x="4300216" y="2405201"/>
                  </a:lnTo>
                  <a:cubicBezTo>
                    <a:pt x="4300216" y="2437807"/>
                    <a:pt x="4287000" y="2467325"/>
                    <a:pt x="4265633" y="2488693"/>
                  </a:cubicBezTo>
                  <a:lnTo>
                    <a:pt x="4248618" y="2500164"/>
                  </a:lnTo>
                  <a:lnTo>
                    <a:pt x="4242728" y="2505957"/>
                  </a:lnTo>
                  <a:lnTo>
                    <a:pt x="4239898" y="2506043"/>
                  </a:lnTo>
                  <a:lnTo>
                    <a:pt x="4228101" y="2513997"/>
                  </a:lnTo>
                  <a:cubicBezTo>
                    <a:pt x="4213975" y="2519972"/>
                    <a:pt x="4198444" y="2523276"/>
                    <a:pt x="4182141" y="2523276"/>
                  </a:cubicBezTo>
                  <a:lnTo>
                    <a:pt x="2705099" y="2523275"/>
                  </a:lnTo>
                  <a:lnTo>
                    <a:pt x="2702736" y="2530890"/>
                  </a:lnTo>
                  <a:cubicBezTo>
                    <a:pt x="2653716" y="2646785"/>
                    <a:pt x="2538957" y="2728106"/>
                    <a:pt x="2405204" y="2728106"/>
                  </a:cubicBezTo>
                  <a:lnTo>
                    <a:pt x="2362260" y="2724857"/>
                  </a:lnTo>
                  <a:lnTo>
                    <a:pt x="2288654" y="2839825"/>
                  </a:lnTo>
                  <a:cubicBezTo>
                    <a:pt x="2248662" y="2902290"/>
                    <a:pt x="2165606" y="2920508"/>
                    <a:pt x="2103141" y="2880516"/>
                  </a:cubicBezTo>
                  <a:cubicBezTo>
                    <a:pt x="2040676" y="2840524"/>
                    <a:pt x="2022458" y="2757468"/>
                    <a:pt x="2062450" y="2695003"/>
                  </a:cubicBezTo>
                  <a:lnTo>
                    <a:pt x="2136792" y="2578885"/>
                  </a:lnTo>
                  <a:lnTo>
                    <a:pt x="2107673" y="2530890"/>
                  </a:lnTo>
                  <a:lnTo>
                    <a:pt x="2105309" y="2523275"/>
                  </a:lnTo>
                  <a:lnTo>
                    <a:pt x="1997498" y="2523275"/>
                  </a:lnTo>
                  <a:cubicBezTo>
                    <a:pt x="1948590" y="2523275"/>
                    <a:pt x="1906627" y="2493539"/>
                    <a:pt x="1888702" y="2451160"/>
                  </a:cubicBezTo>
                  <a:lnTo>
                    <a:pt x="1879423" y="2405201"/>
                  </a:lnTo>
                  <a:lnTo>
                    <a:pt x="1888702" y="2359241"/>
                  </a:lnTo>
                  <a:cubicBezTo>
                    <a:pt x="1906627" y="2316862"/>
                    <a:pt x="1948590" y="2287126"/>
                    <a:pt x="1997498" y="2287126"/>
                  </a:cubicBezTo>
                  <a:lnTo>
                    <a:pt x="2105309" y="2287126"/>
                  </a:lnTo>
                  <a:lnTo>
                    <a:pt x="2107673" y="2279511"/>
                  </a:lnTo>
                  <a:cubicBezTo>
                    <a:pt x="2156693" y="2163615"/>
                    <a:pt x="2271452" y="2082294"/>
                    <a:pt x="2405204" y="2082294"/>
                  </a:cubicBezTo>
                  <a:lnTo>
                    <a:pt x="2452436" y="2085868"/>
                  </a:lnTo>
                  <a:lnTo>
                    <a:pt x="2865796" y="1440221"/>
                  </a:lnTo>
                  <a:cubicBezTo>
                    <a:pt x="2895790" y="1393372"/>
                    <a:pt x="2950008" y="1371413"/>
                    <a:pt x="3001594" y="1380233"/>
                  </a:cubicBezTo>
                  <a:close/>
                  <a:moveTo>
                    <a:pt x="3280793" y="764029"/>
                  </a:moveTo>
                  <a:lnTo>
                    <a:pt x="3293271" y="764029"/>
                  </a:lnTo>
                  <a:lnTo>
                    <a:pt x="3303255" y="764029"/>
                  </a:lnTo>
                  <a:lnTo>
                    <a:pt x="3318228" y="764029"/>
                  </a:lnTo>
                  <a:lnTo>
                    <a:pt x="3328212" y="764029"/>
                  </a:lnTo>
                  <a:lnTo>
                    <a:pt x="3338195" y="769086"/>
                  </a:lnTo>
                  <a:lnTo>
                    <a:pt x="3345680" y="774142"/>
                  </a:lnTo>
                  <a:lnTo>
                    <a:pt x="3360657" y="784256"/>
                  </a:lnTo>
                  <a:lnTo>
                    <a:pt x="3375631" y="796899"/>
                  </a:lnTo>
                  <a:lnTo>
                    <a:pt x="3390604" y="817125"/>
                  </a:lnTo>
                  <a:lnTo>
                    <a:pt x="3398093" y="837352"/>
                  </a:lnTo>
                  <a:lnTo>
                    <a:pt x="3408073" y="855049"/>
                  </a:lnTo>
                  <a:lnTo>
                    <a:pt x="3408073" y="870219"/>
                  </a:lnTo>
                  <a:lnTo>
                    <a:pt x="3413066" y="885388"/>
                  </a:lnTo>
                  <a:lnTo>
                    <a:pt x="3413066" y="892975"/>
                  </a:lnTo>
                  <a:lnTo>
                    <a:pt x="3418056" y="898032"/>
                  </a:lnTo>
                  <a:lnTo>
                    <a:pt x="3245852" y="1181203"/>
                  </a:lnTo>
                  <a:lnTo>
                    <a:pt x="3228383" y="1181203"/>
                  </a:lnTo>
                  <a:lnTo>
                    <a:pt x="3213410" y="1186259"/>
                  </a:lnTo>
                  <a:lnTo>
                    <a:pt x="3195938" y="1186259"/>
                  </a:lnTo>
                  <a:lnTo>
                    <a:pt x="3185954" y="1186259"/>
                  </a:lnTo>
                  <a:lnTo>
                    <a:pt x="3170981" y="1186259"/>
                  </a:lnTo>
                  <a:lnTo>
                    <a:pt x="3160997" y="1181203"/>
                  </a:lnTo>
                  <a:lnTo>
                    <a:pt x="3148519" y="1181203"/>
                  </a:lnTo>
                  <a:lnTo>
                    <a:pt x="3138538" y="1181203"/>
                  </a:lnTo>
                  <a:lnTo>
                    <a:pt x="3118572" y="1173619"/>
                  </a:lnTo>
                  <a:lnTo>
                    <a:pt x="3103598" y="1163506"/>
                  </a:lnTo>
                  <a:lnTo>
                    <a:pt x="3096110" y="1153393"/>
                  </a:lnTo>
                  <a:lnTo>
                    <a:pt x="3086126" y="1138223"/>
                  </a:lnTo>
                  <a:lnTo>
                    <a:pt x="3076143" y="1125580"/>
                  </a:lnTo>
                  <a:lnTo>
                    <a:pt x="3071152" y="1110410"/>
                  </a:lnTo>
                  <a:lnTo>
                    <a:pt x="3066162" y="1100296"/>
                  </a:lnTo>
                  <a:lnTo>
                    <a:pt x="3066162" y="1085126"/>
                  </a:lnTo>
                  <a:lnTo>
                    <a:pt x="3061169" y="1072484"/>
                  </a:lnTo>
                  <a:lnTo>
                    <a:pt x="3066162" y="1062371"/>
                  </a:lnTo>
                  <a:lnTo>
                    <a:pt x="3223390" y="791842"/>
                  </a:lnTo>
                  <a:lnTo>
                    <a:pt x="3228383" y="789312"/>
                  </a:lnTo>
                  <a:lnTo>
                    <a:pt x="3238367" y="784256"/>
                  </a:lnTo>
                  <a:lnTo>
                    <a:pt x="3243357" y="779199"/>
                  </a:lnTo>
                  <a:lnTo>
                    <a:pt x="3250845" y="774142"/>
                  </a:lnTo>
                  <a:lnTo>
                    <a:pt x="3260826" y="769086"/>
                  </a:lnTo>
                  <a:lnTo>
                    <a:pt x="3270809" y="769086"/>
                  </a:lnTo>
                  <a:close/>
                  <a:moveTo>
                    <a:pt x="1529950" y="764029"/>
                  </a:moveTo>
                  <a:lnTo>
                    <a:pt x="1542426" y="764029"/>
                  </a:lnTo>
                  <a:lnTo>
                    <a:pt x="1552406" y="764029"/>
                  </a:lnTo>
                  <a:lnTo>
                    <a:pt x="1562386" y="764029"/>
                  </a:lnTo>
                  <a:lnTo>
                    <a:pt x="1577360" y="764029"/>
                  </a:lnTo>
                  <a:lnTo>
                    <a:pt x="1587340" y="769086"/>
                  </a:lnTo>
                  <a:lnTo>
                    <a:pt x="1604806" y="774142"/>
                  </a:lnTo>
                  <a:lnTo>
                    <a:pt x="1619776" y="784256"/>
                  </a:lnTo>
                  <a:lnTo>
                    <a:pt x="1629756" y="789312"/>
                  </a:lnTo>
                  <a:lnTo>
                    <a:pt x="1637245" y="791842"/>
                  </a:lnTo>
                  <a:lnTo>
                    <a:pt x="1789451" y="1062371"/>
                  </a:lnTo>
                  <a:lnTo>
                    <a:pt x="1789451" y="1072484"/>
                  </a:lnTo>
                  <a:lnTo>
                    <a:pt x="1789451" y="1085126"/>
                  </a:lnTo>
                  <a:lnTo>
                    <a:pt x="1784460" y="1100296"/>
                  </a:lnTo>
                  <a:lnTo>
                    <a:pt x="1781965" y="1110410"/>
                  </a:lnTo>
                  <a:lnTo>
                    <a:pt x="1776975" y="1125580"/>
                  </a:lnTo>
                  <a:lnTo>
                    <a:pt x="1771985" y="1138223"/>
                  </a:lnTo>
                  <a:lnTo>
                    <a:pt x="1757015" y="1153393"/>
                  </a:lnTo>
                  <a:lnTo>
                    <a:pt x="1747034" y="1163506"/>
                  </a:lnTo>
                  <a:lnTo>
                    <a:pt x="1729566" y="1173619"/>
                  </a:lnTo>
                  <a:lnTo>
                    <a:pt x="1714595" y="1181203"/>
                  </a:lnTo>
                  <a:lnTo>
                    <a:pt x="1704615" y="1181203"/>
                  </a:lnTo>
                  <a:lnTo>
                    <a:pt x="1689645" y="1181203"/>
                  </a:lnTo>
                  <a:lnTo>
                    <a:pt x="1677166" y="1186259"/>
                  </a:lnTo>
                  <a:lnTo>
                    <a:pt x="1667186" y="1186259"/>
                  </a:lnTo>
                  <a:lnTo>
                    <a:pt x="1652215" y="1186259"/>
                  </a:lnTo>
                  <a:lnTo>
                    <a:pt x="1637245" y="1186259"/>
                  </a:lnTo>
                  <a:lnTo>
                    <a:pt x="1624766" y="1181203"/>
                  </a:lnTo>
                  <a:lnTo>
                    <a:pt x="1604806" y="1181203"/>
                  </a:lnTo>
                  <a:lnTo>
                    <a:pt x="1442616" y="898032"/>
                  </a:lnTo>
                  <a:lnTo>
                    <a:pt x="1442616" y="892975"/>
                  </a:lnTo>
                  <a:lnTo>
                    <a:pt x="1442616" y="885389"/>
                  </a:lnTo>
                  <a:lnTo>
                    <a:pt x="1442616" y="870219"/>
                  </a:lnTo>
                  <a:lnTo>
                    <a:pt x="1447606" y="855049"/>
                  </a:lnTo>
                  <a:lnTo>
                    <a:pt x="1452597" y="837352"/>
                  </a:lnTo>
                  <a:lnTo>
                    <a:pt x="1462580" y="817125"/>
                  </a:lnTo>
                  <a:lnTo>
                    <a:pt x="1477551" y="796899"/>
                  </a:lnTo>
                  <a:lnTo>
                    <a:pt x="1495016" y="784256"/>
                  </a:lnTo>
                  <a:lnTo>
                    <a:pt x="1504996" y="774142"/>
                  </a:lnTo>
                  <a:lnTo>
                    <a:pt x="1519970" y="769086"/>
                  </a:lnTo>
                  <a:close/>
                  <a:moveTo>
                    <a:pt x="2372531" y="517730"/>
                  </a:moveTo>
                  <a:lnTo>
                    <a:pt x="2387609" y="517730"/>
                  </a:lnTo>
                  <a:lnTo>
                    <a:pt x="2402690" y="522730"/>
                  </a:lnTo>
                  <a:lnTo>
                    <a:pt x="2412743" y="522730"/>
                  </a:lnTo>
                  <a:lnTo>
                    <a:pt x="2420282" y="522730"/>
                  </a:lnTo>
                  <a:lnTo>
                    <a:pt x="2435360" y="527729"/>
                  </a:lnTo>
                  <a:lnTo>
                    <a:pt x="2445413" y="532729"/>
                  </a:lnTo>
                  <a:lnTo>
                    <a:pt x="2460495" y="547725"/>
                  </a:lnTo>
                  <a:lnTo>
                    <a:pt x="2478087" y="560222"/>
                  </a:lnTo>
                  <a:lnTo>
                    <a:pt x="2488140" y="570222"/>
                  </a:lnTo>
                  <a:lnTo>
                    <a:pt x="2498193" y="585217"/>
                  </a:lnTo>
                  <a:lnTo>
                    <a:pt x="2508246" y="590217"/>
                  </a:lnTo>
                  <a:lnTo>
                    <a:pt x="2508246" y="595217"/>
                  </a:lnTo>
                  <a:lnTo>
                    <a:pt x="2508246" y="917661"/>
                  </a:lnTo>
                  <a:lnTo>
                    <a:pt x="2488140" y="927657"/>
                  </a:lnTo>
                  <a:lnTo>
                    <a:pt x="2478087" y="937656"/>
                  </a:lnTo>
                  <a:lnTo>
                    <a:pt x="2465520" y="945153"/>
                  </a:lnTo>
                  <a:lnTo>
                    <a:pt x="2455467" y="955153"/>
                  </a:lnTo>
                  <a:lnTo>
                    <a:pt x="2440388" y="960153"/>
                  </a:lnTo>
                  <a:lnTo>
                    <a:pt x="2430335" y="965149"/>
                  </a:lnTo>
                  <a:lnTo>
                    <a:pt x="2420282" y="970148"/>
                  </a:lnTo>
                  <a:lnTo>
                    <a:pt x="2412743" y="975148"/>
                  </a:lnTo>
                  <a:lnTo>
                    <a:pt x="2387609" y="975148"/>
                  </a:lnTo>
                  <a:lnTo>
                    <a:pt x="2372531" y="975148"/>
                  </a:lnTo>
                  <a:lnTo>
                    <a:pt x="2354935" y="965149"/>
                  </a:lnTo>
                  <a:lnTo>
                    <a:pt x="2344882" y="965149"/>
                  </a:lnTo>
                  <a:lnTo>
                    <a:pt x="2324776" y="955153"/>
                  </a:lnTo>
                  <a:lnTo>
                    <a:pt x="2317237" y="945153"/>
                  </a:lnTo>
                  <a:lnTo>
                    <a:pt x="2307184" y="937656"/>
                  </a:lnTo>
                  <a:lnTo>
                    <a:pt x="2302159" y="927657"/>
                  </a:lnTo>
                  <a:lnTo>
                    <a:pt x="2287078" y="912660"/>
                  </a:lnTo>
                  <a:lnTo>
                    <a:pt x="2287078" y="907660"/>
                  </a:lnTo>
                  <a:lnTo>
                    <a:pt x="2287078" y="600216"/>
                  </a:lnTo>
                  <a:lnTo>
                    <a:pt x="2287078" y="595217"/>
                  </a:lnTo>
                  <a:lnTo>
                    <a:pt x="2292106" y="585217"/>
                  </a:lnTo>
                  <a:lnTo>
                    <a:pt x="2302159" y="570222"/>
                  </a:lnTo>
                  <a:lnTo>
                    <a:pt x="2317237" y="555223"/>
                  </a:lnTo>
                  <a:lnTo>
                    <a:pt x="2334829" y="537725"/>
                  </a:lnTo>
                  <a:lnTo>
                    <a:pt x="2354935" y="527729"/>
                  </a:lnTo>
                  <a:lnTo>
                    <a:pt x="2364988" y="522730"/>
                  </a:lnTo>
                  <a:close/>
                  <a:moveTo>
                    <a:pt x="2405204" y="310321"/>
                  </a:moveTo>
                  <a:cubicBezTo>
                    <a:pt x="1248231" y="310321"/>
                    <a:pt x="310320" y="1248230"/>
                    <a:pt x="310320" y="2405200"/>
                  </a:cubicBezTo>
                  <a:cubicBezTo>
                    <a:pt x="310320" y="3562171"/>
                    <a:pt x="1248231" y="4500081"/>
                    <a:pt x="2405204" y="4500081"/>
                  </a:cubicBezTo>
                  <a:cubicBezTo>
                    <a:pt x="3562178" y="4500081"/>
                    <a:pt x="4500088" y="3562171"/>
                    <a:pt x="4500088" y="2405200"/>
                  </a:cubicBezTo>
                  <a:cubicBezTo>
                    <a:pt x="4500088" y="1248230"/>
                    <a:pt x="3562178" y="310321"/>
                    <a:pt x="2405204" y="310321"/>
                  </a:cubicBezTo>
                  <a:close/>
                  <a:moveTo>
                    <a:pt x="2405204" y="0"/>
                  </a:moveTo>
                  <a:cubicBezTo>
                    <a:pt x="3733562" y="0"/>
                    <a:pt x="4810408" y="1076845"/>
                    <a:pt x="4810408" y="2405200"/>
                  </a:cubicBezTo>
                  <a:cubicBezTo>
                    <a:pt x="4810408" y="3733555"/>
                    <a:pt x="3733562" y="4810401"/>
                    <a:pt x="2405204" y="4810401"/>
                  </a:cubicBezTo>
                  <a:cubicBezTo>
                    <a:pt x="1076846" y="4810401"/>
                    <a:pt x="0" y="3733555"/>
                    <a:pt x="0" y="2405200"/>
                  </a:cubicBezTo>
                  <a:cubicBezTo>
                    <a:pt x="0" y="1076845"/>
                    <a:pt x="1076846" y="0"/>
                    <a:pt x="2405204" y="0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6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2190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>
          <a:xfrm>
            <a:off x="8553449" y="4838264"/>
            <a:ext cx="3102885" cy="9373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r>
              <a:rPr lang="en-US" sz="1600" dirty="0">
                <a:solidFill>
                  <a:srgbClr val="0074A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olution is hosted in Azure, a highly flexible and powerful cloud platform</a:t>
            </a:r>
            <a:endParaRPr lang="en-US" sz="1600" dirty="0">
              <a:solidFill>
                <a:srgbClr val="0074AF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865914" y="1646116"/>
            <a:ext cx="4235504" cy="4551303"/>
          </a:xfrm>
          <a:prstGeom prst="rect">
            <a:avLst/>
          </a:prstGeom>
          <a:noFill/>
          <a:ln>
            <a:solidFill>
              <a:srgbClr val="0095C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pic>
        <p:nvPicPr>
          <p:cNvPr id="11" name="Picture 387" descr="https://sqlperformance.com/wp-content/uploads/2016/10/sql-database-windows-azur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265" y="2955499"/>
            <a:ext cx="1718616" cy="171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08" name="think-cell Slide" r:id="rId6" imgW="378" imgH="379" progId="TCLayout.ActiveDocument.1">
                  <p:embed/>
                </p:oleObj>
              </mc:Choice>
              <mc:Fallback>
                <p:oleObj name="think-cell Slide" r:id="rId6" imgW="378" imgH="37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646331"/>
          </a:xfrm>
        </p:spPr>
        <p:txBody>
          <a:bodyPr/>
          <a:lstStyle/>
          <a:p>
            <a:r>
              <a:rPr lang="en-US" sz="4000" dirty="0"/>
              <a:t>Bot Technology Functional Architecture – Process Bot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1475" y="1530417"/>
            <a:ext cx="11449050" cy="4775132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tIns="2103120" rtlCol="0" anchor="t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2495" y="1058524"/>
            <a:ext cx="11449050" cy="463617"/>
          </a:xfrm>
          <a:prstGeom prst="rect">
            <a:avLst/>
          </a:prstGeom>
          <a:solidFill>
            <a:srgbClr val="0074AF"/>
          </a:solidFill>
          <a:ln w="6350">
            <a:solidFill>
              <a:srgbClr val="0074AF"/>
            </a:solidFill>
          </a:ln>
        </p:spPr>
        <p:txBody>
          <a:bodyPr rtlCol="0" anchor="ctr"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eal Analytics Architecture in Azure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833405"/>
              </p:ext>
            </p:extLst>
          </p:nvPr>
        </p:nvGraphicFramePr>
        <p:xfrm>
          <a:off x="5386383" y="4741759"/>
          <a:ext cx="1051316" cy="963168"/>
        </p:xfrm>
        <a:graphic>
          <a:graphicData uri="http://schemas.openxmlformats.org/drawingml/2006/table">
            <a:tbl>
              <a:tblPr/>
              <a:tblGrid>
                <a:gridCol w="1051316">
                  <a:extLst>
                    <a:ext uri="{9D8B030D-6E8A-4147-A177-3AD203B41FA5}">
                      <a16:colId xmlns:a16="http://schemas.microsoft.com/office/drawing/2014/main" val="3476011293"/>
                    </a:ext>
                  </a:extLst>
                </a:gridCol>
              </a:tblGrid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74AF"/>
                          </a:solidFill>
                          <a:effectLst/>
                          <a:latin typeface="+mn-lt"/>
                        </a:rPr>
                        <a:t>Process Flow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7357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User Choices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0488545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Next Prompt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0400426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Action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071555"/>
                  </a:ext>
                </a:extLst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731739"/>
              </p:ext>
            </p:extLst>
          </p:nvPr>
        </p:nvGraphicFramePr>
        <p:xfrm>
          <a:off x="6396901" y="4752667"/>
          <a:ext cx="800100" cy="481584"/>
        </p:xfrm>
        <a:graphic>
          <a:graphicData uri="http://schemas.openxmlformats.org/drawingml/2006/table">
            <a:tbl>
              <a:tblPr/>
              <a:tblGrid>
                <a:gridCol w="800100">
                  <a:extLst>
                    <a:ext uri="{9D8B030D-6E8A-4147-A177-3AD203B41FA5}">
                      <a16:colId xmlns:a16="http://schemas.microsoft.com/office/drawing/2014/main" val="2655482044"/>
                    </a:ext>
                  </a:extLst>
                </a:gridCol>
              </a:tblGrid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74AF"/>
                          </a:solidFill>
                          <a:effectLst/>
                          <a:latin typeface="+mn-lt"/>
                        </a:rPr>
                        <a:t>Actions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772029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Action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3264735"/>
                  </a:ext>
                </a:extLst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483539"/>
              </p:ext>
            </p:extLst>
          </p:nvPr>
        </p:nvGraphicFramePr>
        <p:xfrm>
          <a:off x="7201975" y="4752667"/>
          <a:ext cx="899443" cy="1444752"/>
        </p:xfrm>
        <a:graphic>
          <a:graphicData uri="http://schemas.openxmlformats.org/drawingml/2006/table">
            <a:tbl>
              <a:tblPr/>
              <a:tblGrid>
                <a:gridCol w="899443">
                  <a:extLst>
                    <a:ext uri="{9D8B030D-6E8A-4147-A177-3AD203B41FA5}">
                      <a16:colId xmlns:a16="http://schemas.microsoft.com/office/drawing/2014/main" val="1925764589"/>
                    </a:ext>
                  </a:extLst>
                </a:gridCol>
              </a:tblGrid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74AF"/>
                          </a:solidFill>
                          <a:effectLst/>
                          <a:latin typeface="+mn-lt"/>
                        </a:rPr>
                        <a:t>Log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2388823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User Choices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89689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Action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88850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Timestamp</a:t>
                      </a: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622500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820"/>
                  </a:ext>
                </a:extLst>
              </a:tr>
              <a:tr h="24079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36576" marB="36576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33640"/>
                  </a:ext>
                </a:extLst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4178560" y="3320049"/>
            <a:ext cx="986214" cy="1020160"/>
            <a:chOff x="4178560" y="3320049"/>
            <a:chExt cx="986214" cy="1020160"/>
          </a:xfrm>
        </p:grpSpPr>
        <p:pic>
          <p:nvPicPr>
            <p:cNvPr id="188772" name="Picture 356" descr="https://bot-framework.azureedge.net/bot-icons-v1/bot-framework-default-7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8561" y="3320049"/>
              <a:ext cx="986213" cy="1020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/>
            <p:cNvSpPr/>
            <p:nvPr/>
          </p:nvSpPr>
          <p:spPr>
            <a:xfrm>
              <a:off x="4178560" y="4140808"/>
              <a:ext cx="98279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Bot Framework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78560" y="5069309"/>
            <a:ext cx="989702" cy="1020160"/>
            <a:chOff x="4178560" y="5069309"/>
            <a:chExt cx="989702" cy="1020160"/>
          </a:xfrm>
        </p:grpSpPr>
        <p:pic>
          <p:nvPicPr>
            <p:cNvPr id="13" name="Picture 384" descr="https://staging.www.projectoxford.ai/images/bright/luis/luis-Main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8560" y="5069309"/>
              <a:ext cx="989702" cy="1020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Rectangle 23"/>
            <p:cNvSpPr/>
            <p:nvPr/>
          </p:nvSpPr>
          <p:spPr>
            <a:xfrm>
              <a:off x="4178560" y="5912282"/>
              <a:ext cx="989702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LUIS Model</a:t>
              </a:r>
            </a:p>
          </p:txBody>
        </p:sp>
      </p:grpSp>
      <p:sp>
        <p:nvSpPr>
          <p:cNvPr id="28" name="Left-Right Arrow 188742"/>
          <p:cNvSpPr/>
          <p:nvPr/>
        </p:nvSpPr>
        <p:spPr>
          <a:xfrm rot="5400000">
            <a:off x="4376351" y="2797196"/>
            <a:ext cx="587208" cy="316606"/>
          </a:xfrm>
          <a:prstGeom prst="leftRightArrow">
            <a:avLst>
              <a:gd name="adj1" fmla="val 50000"/>
              <a:gd name="adj2" fmla="val 34437"/>
            </a:avLst>
          </a:prstGeom>
          <a:solidFill>
            <a:schemeClr val="bg1">
              <a:lumMod val="6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9" name="Left-Right Arrow 188742"/>
          <p:cNvSpPr/>
          <p:nvPr/>
        </p:nvSpPr>
        <p:spPr>
          <a:xfrm rot="5400000">
            <a:off x="4376351" y="4546456"/>
            <a:ext cx="587208" cy="316606"/>
          </a:xfrm>
          <a:prstGeom prst="leftRightArrow">
            <a:avLst>
              <a:gd name="adj1" fmla="val 50000"/>
              <a:gd name="adj2" fmla="val 34437"/>
            </a:avLst>
          </a:prstGeom>
          <a:solidFill>
            <a:schemeClr val="bg1">
              <a:lumMod val="6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0" name="Left-Right Arrow 188742"/>
          <p:cNvSpPr/>
          <p:nvPr/>
        </p:nvSpPr>
        <p:spPr>
          <a:xfrm rot="10800000">
            <a:off x="5311416" y="3671826"/>
            <a:ext cx="587208" cy="316606"/>
          </a:xfrm>
          <a:prstGeom prst="leftRightArrow">
            <a:avLst>
              <a:gd name="adj1" fmla="val 50000"/>
              <a:gd name="adj2" fmla="val 34437"/>
            </a:avLst>
          </a:prstGeom>
          <a:solidFill>
            <a:schemeClr val="bg1">
              <a:lumMod val="6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1" name="Left-Right Arrow 188742"/>
          <p:cNvSpPr/>
          <p:nvPr/>
        </p:nvSpPr>
        <p:spPr>
          <a:xfrm rot="10800000">
            <a:off x="3250131" y="1823746"/>
            <a:ext cx="587208" cy="316606"/>
          </a:xfrm>
          <a:prstGeom prst="leftRightArrow">
            <a:avLst>
              <a:gd name="adj1" fmla="val 50000"/>
              <a:gd name="adj2" fmla="val 34437"/>
            </a:avLst>
          </a:prstGeom>
          <a:solidFill>
            <a:schemeClr val="bg1">
              <a:lumMod val="6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553450" y="1630449"/>
            <a:ext cx="3042407" cy="12775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r>
              <a:rPr lang="en-US" sz="1600" dirty="0">
                <a:solidFill>
                  <a:srgbClr val="0074A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kype serves as user interface.  Bot leverages native capabilities of Skype, is embedded in a webpage or operates via email</a:t>
            </a:r>
            <a:endParaRPr lang="en-US" sz="1600" dirty="0">
              <a:solidFill>
                <a:srgbClr val="0074AF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447778" y="3403596"/>
            <a:ext cx="110567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482" name="Picture 2" descr="Image result for skyp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3428" y="1735186"/>
            <a:ext cx="1588773" cy="699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Oval 17"/>
          <p:cNvSpPr/>
          <p:nvPr/>
        </p:nvSpPr>
        <p:spPr>
          <a:xfrm>
            <a:off x="7402058" y="3357876"/>
            <a:ext cx="91440" cy="9144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cxnSp>
        <p:nvCxnSpPr>
          <p:cNvPr id="37" name="Straight Connector 36"/>
          <p:cNvCxnSpPr>
            <a:stCxn id="38" idx="6"/>
          </p:cNvCxnSpPr>
          <p:nvPr/>
        </p:nvCxnSpPr>
        <p:spPr>
          <a:xfrm>
            <a:off x="5652877" y="2026235"/>
            <a:ext cx="290057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5561437" y="1980515"/>
            <a:ext cx="91440" cy="9144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cxnSp>
        <p:nvCxnSpPr>
          <p:cNvPr id="44" name="Straight Connector 43"/>
          <p:cNvCxnSpPr>
            <a:endCxn id="46" idx="2"/>
          </p:cNvCxnSpPr>
          <p:nvPr/>
        </p:nvCxnSpPr>
        <p:spPr>
          <a:xfrm flipV="1">
            <a:off x="3459721" y="3752896"/>
            <a:ext cx="4757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8583688" y="3085059"/>
            <a:ext cx="3042407" cy="9373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r>
              <a:rPr lang="en-US" sz="1600" dirty="0">
                <a:solidFill>
                  <a:srgbClr val="0074A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Logic is encoded in SQL. This facilitates flexibility and extensibility</a:t>
            </a:r>
            <a:endParaRPr lang="en-US" sz="1600" dirty="0">
              <a:solidFill>
                <a:srgbClr val="0074A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84096" y="5152088"/>
            <a:ext cx="3042407" cy="9373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r>
              <a:rPr lang="en-US" sz="1600" dirty="0">
                <a:solidFill>
                  <a:srgbClr val="0074A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UIS Model provides natural language understanding </a:t>
            </a:r>
          </a:p>
        </p:txBody>
      </p:sp>
      <p:cxnSp>
        <p:nvCxnSpPr>
          <p:cNvPr id="41" name="Straight Connector 40"/>
          <p:cNvCxnSpPr>
            <a:endCxn id="42" idx="2"/>
          </p:cNvCxnSpPr>
          <p:nvPr/>
        </p:nvCxnSpPr>
        <p:spPr>
          <a:xfrm flipV="1">
            <a:off x="3501860" y="5544911"/>
            <a:ext cx="47322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3975085" y="5499191"/>
            <a:ext cx="91440" cy="9144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89805" y="3329925"/>
            <a:ext cx="3042407" cy="9373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r>
              <a:rPr lang="en-US" sz="1600" dirty="0">
                <a:solidFill>
                  <a:srgbClr val="0074A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t framework serve as core connector and communicates  with Skype, SQL, and LUIS.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402058" y="5433371"/>
            <a:ext cx="1562756" cy="928073"/>
            <a:chOff x="7402058" y="5433371"/>
            <a:chExt cx="1562756" cy="928073"/>
          </a:xfrm>
        </p:grpSpPr>
        <p:sp>
          <p:nvSpPr>
            <p:cNvPr id="49" name="Rectangle 48"/>
            <p:cNvSpPr/>
            <p:nvPr/>
          </p:nvSpPr>
          <p:spPr>
            <a:xfrm>
              <a:off x="7879295" y="5685625"/>
              <a:ext cx="627657" cy="599535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pic>
          <p:nvPicPr>
            <p:cNvPr id="276488" name="Picture 8" descr="Image result for azure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2058" y="5433371"/>
              <a:ext cx="1562756" cy="928073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6" name="Oval 45"/>
          <p:cNvSpPr/>
          <p:nvPr/>
        </p:nvSpPr>
        <p:spPr>
          <a:xfrm>
            <a:off x="3935499" y="3707176"/>
            <a:ext cx="91440" cy="9144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7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26462" y="2501544"/>
            <a:ext cx="2079626" cy="52115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r Seeking Help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392947" y="1630449"/>
            <a:ext cx="893053" cy="776072"/>
            <a:chOff x="1392947" y="1630449"/>
            <a:chExt cx="893053" cy="776072"/>
          </a:xfrm>
        </p:grpSpPr>
        <p:sp>
          <p:nvSpPr>
            <p:cNvPr id="51" name="Freeform 827"/>
            <p:cNvSpPr/>
            <p:nvPr/>
          </p:nvSpPr>
          <p:spPr>
            <a:xfrm>
              <a:off x="1392947" y="1791403"/>
              <a:ext cx="448590" cy="388002"/>
            </a:xfrm>
            <a:custGeom>
              <a:avLst/>
              <a:gdLst>
                <a:gd name="connsiteX0" fmla="*/ 1090612 w 1147085"/>
                <a:gd name="connsiteY0" fmla="*/ 0 h 1083469"/>
                <a:gd name="connsiteX1" fmla="*/ 1147085 w 1147085"/>
                <a:gd name="connsiteY1" fmla="*/ 460567 h 1083469"/>
                <a:gd name="connsiteX2" fmla="*/ 1078295 w 1147085"/>
                <a:gd name="connsiteY2" fmla="*/ 504743 h 1083469"/>
                <a:gd name="connsiteX3" fmla="*/ 1025237 w 1147085"/>
                <a:gd name="connsiteY3" fmla="*/ 72025 h 1083469"/>
                <a:gd name="connsiteX4" fmla="*/ 79622 w 1147085"/>
                <a:gd name="connsiteY4" fmla="*/ 171129 h 1083469"/>
                <a:gd name="connsiteX5" fmla="*/ 186985 w 1147085"/>
                <a:gd name="connsiteY5" fmla="*/ 990798 h 1083469"/>
                <a:gd name="connsiteX6" fmla="*/ 186985 w 1147085"/>
                <a:gd name="connsiteY6" fmla="*/ 1011445 h 1083469"/>
                <a:gd name="connsiteX7" fmla="*/ 977729 w 1147085"/>
                <a:gd name="connsiteY7" fmla="*/ 857154 h 1083469"/>
                <a:gd name="connsiteX8" fmla="*/ 977729 w 1147085"/>
                <a:gd name="connsiteY8" fmla="*/ 916854 h 1083469"/>
                <a:gd name="connsiteX9" fmla="*/ 123825 w 1147085"/>
                <a:gd name="connsiteY9" fmla="*/ 1083469 h 1083469"/>
                <a:gd name="connsiteX10" fmla="*/ 0 w 1147085"/>
                <a:gd name="connsiteY10" fmla="*/ 114300 h 1083469"/>
                <a:gd name="connsiteX11" fmla="*/ 1090612 w 1147085"/>
                <a:gd name="connsiteY11" fmla="*/ 0 h 1083469"/>
                <a:gd name="connsiteX0" fmla="*/ 1090612 w 1147085"/>
                <a:gd name="connsiteY0" fmla="*/ 0 h 1083469"/>
                <a:gd name="connsiteX1" fmla="*/ 1147085 w 1147085"/>
                <a:gd name="connsiteY1" fmla="*/ 460567 h 1083469"/>
                <a:gd name="connsiteX2" fmla="*/ 1078295 w 1147085"/>
                <a:gd name="connsiteY2" fmla="*/ 504743 h 1083469"/>
                <a:gd name="connsiteX3" fmla="*/ 1025237 w 1147085"/>
                <a:gd name="connsiteY3" fmla="*/ 72025 h 1083469"/>
                <a:gd name="connsiteX4" fmla="*/ 79622 w 1147085"/>
                <a:gd name="connsiteY4" fmla="*/ 171129 h 1083469"/>
                <a:gd name="connsiteX5" fmla="*/ 186985 w 1147085"/>
                <a:gd name="connsiteY5" fmla="*/ 1011445 h 1083469"/>
                <a:gd name="connsiteX6" fmla="*/ 977729 w 1147085"/>
                <a:gd name="connsiteY6" fmla="*/ 857154 h 1083469"/>
                <a:gd name="connsiteX7" fmla="*/ 977729 w 1147085"/>
                <a:gd name="connsiteY7" fmla="*/ 916854 h 1083469"/>
                <a:gd name="connsiteX8" fmla="*/ 123825 w 1147085"/>
                <a:gd name="connsiteY8" fmla="*/ 1083469 h 1083469"/>
                <a:gd name="connsiteX9" fmla="*/ 0 w 1147085"/>
                <a:gd name="connsiteY9" fmla="*/ 114300 h 1083469"/>
                <a:gd name="connsiteX10" fmla="*/ 1090612 w 1147085"/>
                <a:gd name="connsiteY10" fmla="*/ 0 h 1083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7085" h="1083469">
                  <a:moveTo>
                    <a:pt x="1090612" y="0"/>
                  </a:moveTo>
                  <a:lnTo>
                    <a:pt x="1147085" y="460567"/>
                  </a:lnTo>
                  <a:cubicBezTo>
                    <a:pt x="1121629" y="471368"/>
                    <a:pt x="1098257" y="486098"/>
                    <a:pt x="1078295" y="504743"/>
                  </a:cubicBezTo>
                  <a:lnTo>
                    <a:pt x="1025237" y="72025"/>
                  </a:lnTo>
                  <a:lnTo>
                    <a:pt x="79622" y="171129"/>
                  </a:lnTo>
                  <a:lnTo>
                    <a:pt x="186985" y="1011445"/>
                  </a:lnTo>
                  <a:lnTo>
                    <a:pt x="977729" y="857154"/>
                  </a:lnTo>
                  <a:lnTo>
                    <a:pt x="977729" y="916854"/>
                  </a:lnTo>
                  <a:lnTo>
                    <a:pt x="123825" y="1083469"/>
                  </a:lnTo>
                  <a:lnTo>
                    <a:pt x="0" y="114300"/>
                  </a:lnTo>
                  <a:lnTo>
                    <a:pt x="109061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3" name="Oval 23"/>
            <p:cNvSpPr/>
            <p:nvPr/>
          </p:nvSpPr>
          <p:spPr bwMode="auto">
            <a:xfrm>
              <a:off x="1450088" y="2145231"/>
              <a:ext cx="325218" cy="184542"/>
            </a:xfrm>
            <a:custGeom>
              <a:avLst/>
              <a:gdLst/>
              <a:ahLst/>
              <a:cxnLst/>
              <a:rect l="l" t="t" r="r" b="b"/>
              <a:pathLst>
                <a:path w="831613" h="515322">
                  <a:moveTo>
                    <a:pt x="656506" y="0"/>
                  </a:moveTo>
                  <a:cubicBezTo>
                    <a:pt x="722980" y="12459"/>
                    <a:pt x="782484" y="33487"/>
                    <a:pt x="831613" y="60220"/>
                  </a:cubicBezTo>
                  <a:lnTo>
                    <a:pt x="831613" y="156807"/>
                  </a:lnTo>
                  <a:lnTo>
                    <a:pt x="790343" y="156807"/>
                  </a:lnTo>
                  <a:cubicBezTo>
                    <a:pt x="689578" y="156807"/>
                    <a:pt x="607892" y="247187"/>
                    <a:pt x="607892" y="358678"/>
                  </a:cubicBezTo>
                  <a:cubicBezTo>
                    <a:pt x="607892" y="412735"/>
                    <a:pt x="627095" y="461830"/>
                    <a:pt x="658968" y="497546"/>
                  </a:cubicBezTo>
                  <a:cubicBezTo>
                    <a:pt x="605816" y="509342"/>
                    <a:pt x="548050" y="515322"/>
                    <a:pt x="487726" y="515322"/>
                  </a:cubicBezTo>
                  <a:cubicBezTo>
                    <a:pt x="218362" y="515322"/>
                    <a:pt x="0" y="396081"/>
                    <a:pt x="0" y="248990"/>
                  </a:cubicBezTo>
                  <a:cubicBezTo>
                    <a:pt x="0" y="198934"/>
                    <a:pt x="25288" y="152104"/>
                    <a:pt x="70263" y="113194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4" name="Rounded Rectangle 13"/>
            <p:cNvSpPr/>
            <p:nvPr/>
          </p:nvSpPr>
          <p:spPr bwMode="auto">
            <a:xfrm>
              <a:off x="1706151" y="1961953"/>
              <a:ext cx="537923" cy="444568"/>
            </a:xfrm>
            <a:custGeom>
              <a:avLst/>
              <a:gdLst/>
              <a:ahLst/>
              <a:cxnLst/>
              <a:rect l="l" t="t" r="r" b="b"/>
              <a:pathLst>
                <a:path w="1375518" h="1241425">
                  <a:moveTo>
                    <a:pt x="880211" y="0"/>
                  </a:moveTo>
                  <a:lnTo>
                    <a:pt x="1125002" y="0"/>
                  </a:lnTo>
                  <a:cubicBezTo>
                    <a:pt x="1202113" y="0"/>
                    <a:pt x="1271265" y="34077"/>
                    <a:pt x="1317403" y="88704"/>
                  </a:cubicBezTo>
                  <a:cubicBezTo>
                    <a:pt x="1244331" y="103169"/>
                    <a:pt x="1190628" y="168346"/>
                    <a:pt x="1190628" y="246066"/>
                  </a:cubicBezTo>
                  <a:lnTo>
                    <a:pt x="1190628" y="708029"/>
                  </a:lnTo>
                  <a:lnTo>
                    <a:pt x="929175" y="708029"/>
                  </a:lnTo>
                  <a:lnTo>
                    <a:pt x="803618" y="172438"/>
                  </a:lnTo>
                  <a:close/>
                  <a:moveTo>
                    <a:pt x="481554" y="0"/>
                  </a:moveTo>
                  <a:lnTo>
                    <a:pt x="726347" y="0"/>
                  </a:lnTo>
                  <a:lnTo>
                    <a:pt x="802940" y="172436"/>
                  </a:lnTo>
                  <a:lnTo>
                    <a:pt x="674361" y="720915"/>
                  </a:lnTo>
                  <a:cubicBezTo>
                    <a:pt x="614856" y="745801"/>
                    <a:pt x="573090" y="804586"/>
                    <a:pt x="573090" y="873128"/>
                  </a:cubicBezTo>
                  <a:cubicBezTo>
                    <a:pt x="573090" y="964310"/>
                    <a:pt x="647007" y="1038227"/>
                    <a:pt x="738189" y="1038227"/>
                  </a:cubicBezTo>
                  <a:lnTo>
                    <a:pt x="1375518" y="1038227"/>
                  </a:lnTo>
                  <a:cubicBezTo>
                    <a:pt x="1351252" y="1154299"/>
                    <a:pt x="1248302" y="1241425"/>
                    <a:pt x="1125002" y="1241425"/>
                  </a:cubicBezTo>
                  <a:lnTo>
                    <a:pt x="481554" y="1241425"/>
                  </a:lnTo>
                  <a:cubicBezTo>
                    <a:pt x="358254" y="1241425"/>
                    <a:pt x="255302" y="1154298"/>
                    <a:pt x="231037" y="1038224"/>
                  </a:cubicBezTo>
                  <a:lnTo>
                    <a:pt x="165099" y="1038224"/>
                  </a:lnTo>
                  <a:cubicBezTo>
                    <a:pt x="73917" y="1038224"/>
                    <a:pt x="0" y="964307"/>
                    <a:pt x="0" y="873125"/>
                  </a:cubicBezTo>
                  <a:cubicBezTo>
                    <a:pt x="0" y="781943"/>
                    <a:pt x="73917" y="708026"/>
                    <a:pt x="165099" y="708026"/>
                  </a:cubicBezTo>
                  <a:lnTo>
                    <a:pt x="225428" y="708026"/>
                  </a:lnTo>
                  <a:lnTo>
                    <a:pt x="225428" y="256126"/>
                  </a:lnTo>
                  <a:cubicBezTo>
                    <a:pt x="225428" y="114672"/>
                    <a:pt x="340100" y="0"/>
                    <a:pt x="481554" y="0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5" name="Oval 54"/>
            <p:cNvSpPr/>
            <p:nvPr/>
          </p:nvSpPr>
          <p:spPr bwMode="auto">
            <a:xfrm>
              <a:off x="1861357" y="1630449"/>
              <a:ext cx="326553" cy="299031"/>
            </a:xfrm>
            <a:prstGeom prst="ellipse">
              <a:avLst/>
            </a:prstGeom>
            <a:solidFill>
              <a:srgbClr val="66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6" name="Rounded Rectangle 14"/>
            <p:cNvSpPr/>
            <p:nvPr/>
          </p:nvSpPr>
          <p:spPr bwMode="auto">
            <a:xfrm>
              <a:off x="1945788" y="2006297"/>
              <a:ext cx="340212" cy="313244"/>
            </a:xfrm>
            <a:custGeom>
              <a:avLst/>
              <a:gdLst>
                <a:gd name="connsiteX0" fmla="*/ 744540 w 869954"/>
                <a:gd name="connsiteY0" fmla="*/ 0 h 874713"/>
                <a:gd name="connsiteX1" fmla="*/ 869954 w 869954"/>
                <a:gd name="connsiteY1" fmla="*/ 125414 h 874713"/>
                <a:gd name="connsiteX2" fmla="*/ 869953 w 869954"/>
                <a:gd name="connsiteY2" fmla="*/ 706437 h 874713"/>
                <a:gd name="connsiteX3" fmla="*/ 869952 w 869954"/>
                <a:gd name="connsiteY3" fmla="*/ 749299 h 874713"/>
                <a:gd name="connsiteX4" fmla="*/ 744538 w 869954"/>
                <a:gd name="connsiteY4" fmla="*/ 874713 h 874713"/>
                <a:gd name="connsiteX5" fmla="*/ 125414 w 869954"/>
                <a:gd name="connsiteY5" fmla="*/ 874712 h 874713"/>
                <a:gd name="connsiteX6" fmla="*/ 0 w 869954"/>
                <a:gd name="connsiteY6" fmla="*/ 749298 h 874713"/>
                <a:gd name="connsiteX7" fmla="*/ 1 w 869954"/>
                <a:gd name="connsiteY7" fmla="*/ 749299 h 874713"/>
                <a:gd name="connsiteX8" fmla="*/ 125415 w 869954"/>
                <a:gd name="connsiteY8" fmla="*/ 623885 h 874713"/>
                <a:gd name="connsiteX9" fmla="*/ 619126 w 869954"/>
                <a:gd name="connsiteY9" fmla="*/ 623885 h 874713"/>
                <a:gd name="connsiteX10" fmla="*/ 619126 w 869954"/>
                <a:gd name="connsiteY10" fmla="*/ 125414 h 874713"/>
                <a:gd name="connsiteX11" fmla="*/ 744540 w 869954"/>
                <a:gd name="connsiteY11" fmla="*/ 0 h 874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9954" h="874713">
                  <a:moveTo>
                    <a:pt x="744540" y="0"/>
                  </a:moveTo>
                  <a:cubicBezTo>
                    <a:pt x="813804" y="0"/>
                    <a:pt x="869954" y="56150"/>
                    <a:pt x="869954" y="125414"/>
                  </a:cubicBezTo>
                  <a:cubicBezTo>
                    <a:pt x="869954" y="319088"/>
                    <a:pt x="869953" y="512763"/>
                    <a:pt x="869953" y="706437"/>
                  </a:cubicBezTo>
                  <a:cubicBezTo>
                    <a:pt x="869953" y="720724"/>
                    <a:pt x="869952" y="735012"/>
                    <a:pt x="869952" y="749299"/>
                  </a:cubicBezTo>
                  <a:cubicBezTo>
                    <a:pt x="869952" y="818563"/>
                    <a:pt x="813802" y="874713"/>
                    <a:pt x="744538" y="874713"/>
                  </a:cubicBezTo>
                  <a:lnTo>
                    <a:pt x="125414" y="874712"/>
                  </a:lnTo>
                  <a:cubicBezTo>
                    <a:pt x="56150" y="874712"/>
                    <a:pt x="0" y="818562"/>
                    <a:pt x="0" y="749298"/>
                  </a:cubicBezTo>
                  <a:lnTo>
                    <a:pt x="1" y="749299"/>
                  </a:lnTo>
                  <a:cubicBezTo>
                    <a:pt x="1" y="680035"/>
                    <a:pt x="56151" y="623885"/>
                    <a:pt x="125415" y="623885"/>
                  </a:cubicBezTo>
                  <a:lnTo>
                    <a:pt x="619126" y="623885"/>
                  </a:lnTo>
                  <a:lnTo>
                    <a:pt x="619126" y="125414"/>
                  </a:lnTo>
                  <a:cubicBezTo>
                    <a:pt x="619126" y="56150"/>
                    <a:pt x="675276" y="0"/>
                    <a:pt x="744540" y="0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16328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548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4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71475" y="1076228"/>
            <a:ext cx="1821668" cy="25589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Natural Language Improvement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71475" y="3760694"/>
            <a:ext cx="1814261" cy="2544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Process Improvem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701731"/>
          </a:xfrm>
        </p:spPr>
        <p:txBody>
          <a:bodyPr/>
          <a:lstStyle/>
          <a:p>
            <a:r>
              <a:rPr lang="en-US" dirty="0"/>
              <a:t>A System That Grows Smarter With Use</a:t>
            </a:r>
          </a:p>
        </p:txBody>
      </p:sp>
      <p:sp>
        <p:nvSpPr>
          <p:cNvPr id="4" name="Rectangle 3"/>
          <p:cNvSpPr/>
          <p:nvPr/>
        </p:nvSpPr>
        <p:spPr>
          <a:xfrm>
            <a:off x="371475" y="1076228"/>
            <a:ext cx="11449050" cy="255892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t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1475" y="3760695"/>
            <a:ext cx="11449050" cy="254440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29274" y="2138939"/>
            <a:ext cx="2598727" cy="195439"/>
          </a:xfrm>
          <a:prstGeom prst="rect">
            <a:avLst/>
          </a:prstGeom>
          <a:noFill/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Natural Language Learning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276475" y="2388611"/>
            <a:ext cx="2689347" cy="7360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log is kept of all user inputs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text and selections)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595804" y="2388611"/>
            <a:ext cx="2632198" cy="7360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xt and Selections can be used to retrain natural language model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096505" y="2819660"/>
            <a:ext cx="2657344" cy="73608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tIns="36576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uto-populate to all end point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857984" y="2388611"/>
            <a:ext cx="2632198" cy="7360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New model is published</a:t>
            </a:r>
          </a:p>
        </p:txBody>
      </p:sp>
      <p:cxnSp>
        <p:nvCxnSpPr>
          <p:cNvPr id="19" name="Straight Arrow Connector 18"/>
          <p:cNvCxnSpPr>
            <a:stCxn id="13" idx="3"/>
            <a:endCxn id="14" idx="1"/>
          </p:cNvCxnSpPr>
          <p:nvPr/>
        </p:nvCxnSpPr>
        <p:spPr>
          <a:xfrm>
            <a:off x="4965822" y="2756654"/>
            <a:ext cx="629982" cy="0"/>
          </a:xfrm>
          <a:prstGeom prst="straightConnector1">
            <a:avLst/>
          </a:prstGeom>
          <a:ln w="31750">
            <a:solidFill>
              <a:schemeClr val="bg1">
                <a:lumMod val="6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14" idx="3"/>
            <a:endCxn id="15" idx="1"/>
          </p:cNvCxnSpPr>
          <p:nvPr/>
        </p:nvCxnSpPr>
        <p:spPr>
          <a:xfrm>
            <a:off x="8228002" y="2756654"/>
            <a:ext cx="629982" cy="0"/>
          </a:xfrm>
          <a:prstGeom prst="straightConnector1">
            <a:avLst/>
          </a:prstGeom>
          <a:ln w="31750">
            <a:solidFill>
              <a:schemeClr val="bg1">
                <a:lumMod val="6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624296" y="4595393"/>
            <a:ext cx="2603706" cy="247437"/>
          </a:xfrm>
          <a:prstGeom prst="rect">
            <a:avLst/>
          </a:prstGeom>
          <a:noFill/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Logic Learning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276475" y="4842831"/>
            <a:ext cx="2689347" cy="8445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log is kept of all user inputs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text and selections)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595804" y="4842831"/>
            <a:ext cx="2632198" cy="8445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Paths which lead to dead ends or loops can be analyzed and improved. New branches built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096504" y="5337397"/>
            <a:ext cx="2657345" cy="90147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tIns="36576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to-populate to all endpoint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857984" y="4842831"/>
            <a:ext cx="2632198" cy="8445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New Business Logic is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pdated in SQL</a:t>
            </a:r>
          </a:p>
        </p:txBody>
      </p:sp>
      <p:cxnSp>
        <p:nvCxnSpPr>
          <p:cNvPr id="28" name="Straight Arrow Connector 27"/>
          <p:cNvCxnSpPr>
            <a:stCxn id="24" idx="3"/>
            <a:endCxn id="25" idx="1"/>
          </p:cNvCxnSpPr>
          <p:nvPr/>
        </p:nvCxnSpPr>
        <p:spPr>
          <a:xfrm>
            <a:off x="4965822" y="5265107"/>
            <a:ext cx="629982" cy="0"/>
          </a:xfrm>
          <a:prstGeom prst="straightConnector1">
            <a:avLst/>
          </a:prstGeom>
          <a:ln w="31750">
            <a:solidFill>
              <a:schemeClr val="bg1">
                <a:lumMod val="6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25" idx="3"/>
            <a:endCxn id="27" idx="1"/>
          </p:cNvCxnSpPr>
          <p:nvPr/>
        </p:nvCxnSpPr>
        <p:spPr>
          <a:xfrm>
            <a:off x="8228002" y="5265107"/>
            <a:ext cx="629982" cy="0"/>
          </a:xfrm>
          <a:prstGeom prst="straightConnector1">
            <a:avLst/>
          </a:prstGeom>
          <a:ln w="31750">
            <a:solidFill>
              <a:schemeClr val="bg1">
                <a:lumMod val="6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7" descr="https://sqlperformance.com/wp-content/uploads/2016/10/sql-database-windows-azur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519" y="3869557"/>
            <a:ext cx="914408" cy="91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87" descr="https://sqlperformance.com/wp-content/uploads/2016/10/sql-database-windows-azur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519" y="1348661"/>
            <a:ext cx="914408" cy="91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val 19"/>
          <p:cNvSpPr/>
          <p:nvPr/>
        </p:nvSpPr>
        <p:spPr>
          <a:xfrm>
            <a:off x="8030960" y="3877361"/>
            <a:ext cx="394082" cy="39408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</a:t>
            </a:r>
          </a:p>
        </p:txBody>
      </p:sp>
      <p:sp>
        <p:nvSpPr>
          <p:cNvPr id="41" name="Oval 40"/>
          <p:cNvSpPr/>
          <p:nvPr/>
        </p:nvSpPr>
        <p:spPr>
          <a:xfrm>
            <a:off x="8652358" y="4389398"/>
            <a:ext cx="394082" cy="39408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  <a:latin typeface="+mn-lt"/>
              </a:rPr>
              <a:t>A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830584" y="3781759"/>
            <a:ext cx="20037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0.3</a:t>
            </a:r>
          </a:p>
        </p:txBody>
      </p:sp>
      <p:sp>
        <p:nvSpPr>
          <p:cNvPr id="43" name="Rectangle 42"/>
          <p:cNvSpPr/>
          <p:nvPr/>
        </p:nvSpPr>
        <p:spPr>
          <a:xfrm>
            <a:off x="8891906" y="3895663"/>
            <a:ext cx="20037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0.7</a:t>
            </a:r>
          </a:p>
        </p:txBody>
      </p:sp>
      <p:sp>
        <p:nvSpPr>
          <p:cNvPr id="44" name="Rectangle 43"/>
          <p:cNvSpPr/>
          <p:nvPr/>
        </p:nvSpPr>
        <p:spPr>
          <a:xfrm>
            <a:off x="8545698" y="4864614"/>
            <a:ext cx="20037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0.6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106891" y="4595394"/>
            <a:ext cx="20037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0.4</a:t>
            </a:r>
          </a:p>
        </p:txBody>
      </p:sp>
      <p:sp>
        <p:nvSpPr>
          <p:cNvPr id="22" name="Arc 21"/>
          <p:cNvSpPr/>
          <p:nvPr/>
        </p:nvSpPr>
        <p:spPr>
          <a:xfrm>
            <a:off x="8135063" y="3872098"/>
            <a:ext cx="798690" cy="798690"/>
          </a:xfrm>
          <a:prstGeom prst="arc">
            <a:avLst>
              <a:gd name="adj1" fmla="val 14676635"/>
              <a:gd name="adj2" fmla="val 930231"/>
            </a:avLst>
          </a:prstGeom>
          <a:ln>
            <a:solidFill>
              <a:srgbClr val="FB5A07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Arc 47"/>
          <p:cNvSpPr/>
          <p:nvPr/>
        </p:nvSpPr>
        <p:spPr>
          <a:xfrm>
            <a:off x="8135063" y="3872098"/>
            <a:ext cx="798690" cy="798690"/>
          </a:xfrm>
          <a:prstGeom prst="arc">
            <a:avLst>
              <a:gd name="adj1" fmla="val 4467185"/>
              <a:gd name="adj2" fmla="val 10872500"/>
            </a:avLst>
          </a:prstGeom>
          <a:ln>
            <a:solidFill>
              <a:srgbClr val="FB5A07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Arc 48"/>
          <p:cNvSpPr/>
          <p:nvPr/>
        </p:nvSpPr>
        <p:spPr>
          <a:xfrm>
            <a:off x="8657006" y="4657347"/>
            <a:ext cx="214766" cy="214766"/>
          </a:xfrm>
          <a:prstGeom prst="arc">
            <a:avLst>
              <a:gd name="adj1" fmla="val 1338315"/>
              <a:gd name="adj2" fmla="val 12486738"/>
            </a:avLst>
          </a:prstGeom>
          <a:ln>
            <a:solidFill>
              <a:srgbClr val="FB5A07"/>
            </a:solidFill>
            <a:headEnd type="triangle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rc 49"/>
          <p:cNvSpPr/>
          <p:nvPr/>
        </p:nvSpPr>
        <p:spPr>
          <a:xfrm rot="8136039">
            <a:off x="8072409" y="3777213"/>
            <a:ext cx="214766" cy="214766"/>
          </a:xfrm>
          <a:prstGeom prst="arc">
            <a:avLst>
              <a:gd name="adj1" fmla="val 1338315"/>
              <a:gd name="adj2" fmla="val 12973650"/>
            </a:avLst>
          </a:prstGeom>
          <a:ln>
            <a:solidFill>
              <a:srgbClr val="FB5A07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5" name="Picture 384" descr="https://staging.www.projectoxford.ai/images/bright/luis/luis-Main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70" b="11370"/>
          <a:stretch/>
        </p:blipFill>
        <p:spPr bwMode="auto">
          <a:xfrm>
            <a:off x="8056738" y="1498975"/>
            <a:ext cx="989702" cy="788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8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5307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480131"/>
          </a:xfrm>
        </p:spPr>
        <p:txBody>
          <a:bodyPr/>
          <a:lstStyle/>
          <a:p>
            <a:r>
              <a:rPr lang="en-US" sz="2800" dirty="0"/>
              <a:t>Microsoft Cognitive Services enables bot functionality to be extended</a:t>
            </a:r>
          </a:p>
        </p:txBody>
      </p:sp>
      <p:sp>
        <p:nvSpPr>
          <p:cNvPr id="104" name="Rectangle 103"/>
          <p:cNvSpPr>
            <a:spLocks/>
          </p:cNvSpPr>
          <p:nvPr/>
        </p:nvSpPr>
        <p:spPr bwMode="auto">
          <a:xfrm>
            <a:off x="7914831" y="947466"/>
            <a:ext cx="3909563" cy="780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470" tIns="43734" rIns="87470" bIns="43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8914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30" b="1" i="0" u="none" strike="noStrike" kern="0" cap="none" spc="0" normalizeH="0" baseline="0" noProof="0">
              <a:ln>
                <a:noFill/>
              </a:ln>
              <a:solidFill>
                <a:srgbClr val="FFB9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5" name="Rectangle 104"/>
          <p:cNvSpPr>
            <a:spLocks/>
          </p:cNvSpPr>
          <p:nvPr/>
        </p:nvSpPr>
        <p:spPr bwMode="auto">
          <a:xfrm>
            <a:off x="7914831" y="947466"/>
            <a:ext cx="3909563" cy="780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470" tIns="43734" rIns="87470" bIns="437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8914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30" b="1" i="0" u="none" strike="noStrike" kern="0" cap="none" spc="0" normalizeH="0" baseline="0" noProof="0">
              <a:ln>
                <a:noFill/>
              </a:ln>
              <a:solidFill>
                <a:srgbClr val="FFB9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472029" y="3116432"/>
            <a:ext cx="2098974" cy="627407"/>
            <a:chOff x="6827777" y="4411662"/>
            <a:chExt cx="2459932" cy="533400"/>
          </a:xfrm>
          <a:solidFill>
            <a:srgbClr val="D2D2D2"/>
          </a:solidFill>
        </p:grpSpPr>
        <p:sp>
          <p:nvSpPr>
            <p:cNvPr id="107" name="Flowchart: Process 8"/>
            <p:cNvSpPr/>
            <p:nvPr/>
          </p:nvSpPr>
          <p:spPr bwMode="auto">
            <a:xfrm>
              <a:off x="6827777" y="44116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6996044" y="4520801"/>
              <a:ext cx="2121554" cy="329012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Emotion</a:t>
              </a: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2700541" y="3083671"/>
            <a:ext cx="2195928" cy="627407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10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9888747" y="5125889"/>
              <a:ext cx="2273093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Speaker Recognition</a:t>
              </a: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2700540" y="3759202"/>
            <a:ext cx="2185464" cy="627407"/>
            <a:chOff x="9701909" y="5630862"/>
            <a:chExt cx="2459932" cy="533400"/>
          </a:xfrm>
          <a:solidFill>
            <a:srgbClr val="D2D2D2"/>
          </a:solidFill>
        </p:grpSpPr>
        <p:sp>
          <p:nvSpPr>
            <p:cNvPr id="113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9838466" y="5631889"/>
              <a:ext cx="2162814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Speech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2700540" y="2408137"/>
            <a:ext cx="2199076" cy="627404"/>
            <a:chOff x="9701907" y="3192460"/>
            <a:chExt cx="2459932" cy="533400"/>
          </a:xfrm>
          <a:solidFill>
            <a:srgbClr val="D2D2D2"/>
          </a:solidFill>
        </p:grpSpPr>
        <p:sp>
          <p:nvSpPr>
            <p:cNvPr id="116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9836450" y="3268662"/>
              <a:ext cx="2321868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Customer Recognition</a:t>
              </a: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472031" y="2429784"/>
            <a:ext cx="2099966" cy="627407"/>
            <a:chOff x="6827776" y="3192468"/>
            <a:chExt cx="2459933" cy="533401"/>
          </a:xfrm>
          <a:solidFill>
            <a:srgbClr val="D2D2D2"/>
          </a:solidFill>
        </p:grpSpPr>
        <p:sp>
          <p:nvSpPr>
            <p:cNvPr id="119" name="Flowchart: Process 8"/>
            <p:cNvSpPr/>
            <p:nvPr/>
          </p:nvSpPr>
          <p:spPr bwMode="auto">
            <a:xfrm>
              <a:off x="6827776" y="3192468"/>
              <a:ext cx="2459933" cy="533401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6986793" y="3268665"/>
              <a:ext cx="2130806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Computer Vision</a:t>
              </a: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72027" y="3795090"/>
            <a:ext cx="2101318" cy="627407"/>
            <a:chOff x="6827777" y="3802062"/>
            <a:chExt cx="2459932" cy="533400"/>
          </a:xfrm>
          <a:solidFill>
            <a:srgbClr val="D2D2D2"/>
          </a:solidFill>
        </p:grpSpPr>
        <p:sp>
          <p:nvSpPr>
            <p:cNvPr id="122" name="Flowchart: Process 8"/>
            <p:cNvSpPr/>
            <p:nvPr/>
          </p:nvSpPr>
          <p:spPr bwMode="auto">
            <a:xfrm>
              <a:off x="6827777" y="38020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7014491" y="3892910"/>
              <a:ext cx="2103108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Face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472027" y="4473749"/>
            <a:ext cx="2098975" cy="627407"/>
            <a:chOff x="6827777" y="3802062"/>
            <a:chExt cx="2459932" cy="533400"/>
          </a:xfrm>
          <a:solidFill>
            <a:srgbClr val="D2D2D2"/>
          </a:solidFill>
        </p:grpSpPr>
        <p:sp>
          <p:nvSpPr>
            <p:cNvPr id="125" name="Flowchart: Process 8"/>
            <p:cNvSpPr/>
            <p:nvPr/>
          </p:nvSpPr>
          <p:spPr bwMode="auto">
            <a:xfrm>
              <a:off x="6827777" y="38020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6994719" y="3892910"/>
              <a:ext cx="2122880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Video</a:t>
              </a:r>
            </a:p>
          </p:txBody>
        </p:sp>
      </p:grpSp>
      <p:pic>
        <p:nvPicPr>
          <p:cNvPr id="127" name="Picture 1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731" y="1850046"/>
            <a:ext cx="296411" cy="359581"/>
          </a:xfrm>
          <a:prstGeom prst="rect">
            <a:avLst/>
          </a:prstGeom>
        </p:spPr>
      </p:pic>
      <p:sp>
        <p:nvSpPr>
          <p:cNvPr id="128" name="Rectangle 127"/>
          <p:cNvSpPr/>
          <p:nvPr/>
        </p:nvSpPr>
        <p:spPr>
          <a:xfrm>
            <a:off x="410633" y="937437"/>
            <a:ext cx="11526140" cy="557611"/>
          </a:xfrm>
          <a:prstGeom prst="rect">
            <a:avLst/>
          </a:prstGeom>
          <a:solidFill>
            <a:srgbClr val="0074AF"/>
          </a:solidFill>
          <a:ln w="25400" cap="flat" cmpd="sng" algn="ctr">
            <a:noFill/>
            <a:prstDash val="solid"/>
          </a:ln>
          <a:effectLst/>
        </p:spPr>
        <p:txBody>
          <a:bodyPr lIns="116970" tIns="58484" rIns="116970" bIns="58484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78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Cognitive Services</a:t>
            </a:r>
          </a:p>
        </p:txBody>
      </p:sp>
      <p:grpSp>
        <p:nvGrpSpPr>
          <p:cNvPr id="129" name="Group 128"/>
          <p:cNvGrpSpPr/>
          <p:nvPr/>
        </p:nvGrpSpPr>
        <p:grpSpPr>
          <a:xfrm>
            <a:off x="9634372" y="1729865"/>
            <a:ext cx="2178717" cy="627408"/>
            <a:chOff x="5409079" y="5683117"/>
            <a:chExt cx="2222405" cy="639989"/>
          </a:xfrm>
        </p:grpSpPr>
        <p:grpSp>
          <p:nvGrpSpPr>
            <p:cNvPr id="130" name="Group 129"/>
            <p:cNvGrpSpPr/>
            <p:nvPr/>
          </p:nvGrpSpPr>
          <p:grpSpPr>
            <a:xfrm>
              <a:off x="5409079" y="5683117"/>
              <a:ext cx="2222405" cy="639989"/>
              <a:chOff x="803519" y="1881281"/>
              <a:chExt cx="2222721" cy="640080"/>
            </a:xfrm>
          </p:grpSpPr>
          <p:sp>
            <p:nvSpPr>
              <p:cNvPr id="132" name="Rectangle 131"/>
              <p:cNvSpPr/>
              <p:nvPr/>
            </p:nvSpPr>
            <p:spPr>
              <a:xfrm>
                <a:off x="803519" y="1881281"/>
                <a:ext cx="2222721" cy="640080"/>
              </a:xfrm>
              <a:prstGeom prst="rect">
                <a:avLst/>
              </a:prstGeom>
              <a:solidFill>
                <a:srgbClr val="0095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16954" tIns="58475" rIns="116954" bIns="58475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8390">
                  <a:defRPr/>
                </a:pPr>
                <a:endParaRPr lang="en-US" sz="1765" kern="0" dirty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133" name="TextBox 132"/>
              <p:cNvSpPr txBox="1"/>
              <p:nvPr/>
            </p:nvSpPr>
            <p:spPr>
              <a:xfrm>
                <a:off x="1202293" y="1886159"/>
                <a:ext cx="1402359" cy="627912"/>
              </a:xfrm>
              <a:prstGeom prst="rect">
                <a:avLst/>
              </a:prstGeom>
              <a:solidFill>
                <a:srgbClr val="009580"/>
              </a:solidFill>
              <a:ln>
                <a:noFill/>
              </a:ln>
            </p:spPr>
            <p:txBody>
              <a:bodyPr wrap="square" lIns="179259" tIns="143407" rIns="179259" bIns="143407" rtlCol="0" anchor="ctr">
                <a:spAutoFit/>
              </a:bodyPr>
              <a:lstStyle/>
              <a:p>
                <a:pPr defTabSz="896386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2353" kern="0" dirty="0">
                    <a:solidFill>
                      <a:srgbClr val="FFFFFF"/>
                    </a:solidFill>
                    <a:latin typeface="Segoe UI Light"/>
                  </a:rPr>
                  <a:t>Search</a:t>
                </a:r>
              </a:p>
            </p:txBody>
          </p:sp>
        </p:grpSp>
        <p:pic>
          <p:nvPicPr>
            <p:cNvPr id="131" name="Picture 130"/>
            <p:cNvPicPr>
              <a:picLocks noChangeAspect="1"/>
            </p:cNvPicPr>
            <p:nvPr/>
          </p:nvPicPr>
          <p:blipFill rotWithShape="1">
            <a:blip r:embed="rId8"/>
            <a:srcRect l="30169" r="30896"/>
            <a:stretch/>
          </p:blipFill>
          <p:spPr>
            <a:xfrm>
              <a:off x="5409170" y="5685261"/>
              <a:ext cx="536151" cy="636116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2700540" y="1722832"/>
            <a:ext cx="2215536" cy="627408"/>
            <a:chOff x="5409079" y="5293862"/>
            <a:chExt cx="2227401" cy="639989"/>
          </a:xfrm>
        </p:grpSpPr>
        <p:grpSp>
          <p:nvGrpSpPr>
            <p:cNvPr id="135" name="Group 134"/>
            <p:cNvGrpSpPr/>
            <p:nvPr/>
          </p:nvGrpSpPr>
          <p:grpSpPr>
            <a:xfrm>
              <a:off x="5409079" y="5293862"/>
              <a:ext cx="2227401" cy="639989"/>
              <a:chOff x="803519" y="1881281"/>
              <a:chExt cx="2227717" cy="640080"/>
            </a:xfrm>
          </p:grpSpPr>
          <p:sp>
            <p:nvSpPr>
              <p:cNvPr id="137" name="Rectangle 136"/>
              <p:cNvSpPr/>
              <p:nvPr/>
            </p:nvSpPr>
            <p:spPr>
              <a:xfrm>
                <a:off x="803519" y="1881281"/>
                <a:ext cx="2227717" cy="640080"/>
              </a:xfrm>
              <a:prstGeom prst="rect">
                <a:avLst/>
              </a:prstGeom>
              <a:solidFill>
                <a:srgbClr val="0095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16954" tIns="58475" rIns="116954" bIns="58475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8390">
                  <a:defRPr/>
                </a:pPr>
                <a:endParaRPr lang="en-US" sz="1765" kern="0" dirty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138" name="TextBox 137"/>
              <p:cNvSpPr txBox="1"/>
              <p:nvPr/>
            </p:nvSpPr>
            <p:spPr>
              <a:xfrm>
                <a:off x="1213136" y="1886159"/>
                <a:ext cx="1533417" cy="627912"/>
              </a:xfrm>
              <a:prstGeom prst="rect">
                <a:avLst/>
              </a:prstGeom>
              <a:solidFill>
                <a:srgbClr val="009580"/>
              </a:solidFill>
              <a:ln>
                <a:noFill/>
              </a:ln>
            </p:spPr>
            <p:txBody>
              <a:bodyPr wrap="square" lIns="179259" tIns="143407" rIns="179259" bIns="143407" rtlCol="0" anchor="ctr">
                <a:spAutoFit/>
              </a:bodyPr>
              <a:lstStyle/>
              <a:p>
                <a:pPr defTabSz="896386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2353" kern="0" dirty="0">
                    <a:solidFill>
                      <a:srgbClr val="FFFFFF"/>
                    </a:solidFill>
                    <a:latin typeface="Segoe UI Light"/>
                  </a:rPr>
                  <a:t>Speech</a:t>
                </a:r>
              </a:p>
            </p:txBody>
          </p:sp>
        </p:grpSp>
        <p:pic>
          <p:nvPicPr>
            <p:cNvPr id="136" name="Picture 135"/>
            <p:cNvPicPr>
              <a:picLocks noChangeAspect="1"/>
            </p:cNvPicPr>
            <p:nvPr/>
          </p:nvPicPr>
          <p:blipFill rotWithShape="1">
            <a:blip r:embed="rId9"/>
            <a:srcRect l="30169" r="30896"/>
            <a:stretch/>
          </p:blipFill>
          <p:spPr>
            <a:xfrm>
              <a:off x="5440120" y="5323085"/>
              <a:ext cx="498576" cy="591535"/>
            </a:xfrm>
            <a:prstGeom prst="rect">
              <a:avLst/>
            </a:prstGeom>
          </p:spPr>
        </p:pic>
      </p:grpSp>
      <p:grpSp>
        <p:nvGrpSpPr>
          <p:cNvPr id="139" name="Group 138"/>
          <p:cNvGrpSpPr/>
          <p:nvPr/>
        </p:nvGrpSpPr>
        <p:grpSpPr>
          <a:xfrm>
            <a:off x="5012697" y="1731048"/>
            <a:ext cx="2185876" cy="627408"/>
            <a:chOff x="5407561" y="6137698"/>
            <a:chExt cx="2229707" cy="639989"/>
          </a:xfrm>
        </p:grpSpPr>
        <p:grpSp>
          <p:nvGrpSpPr>
            <p:cNvPr id="140" name="Group 139"/>
            <p:cNvGrpSpPr/>
            <p:nvPr/>
          </p:nvGrpSpPr>
          <p:grpSpPr>
            <a:xfrm>
              <a:off x="5407561" y="6137698"/>
              <a:ext cx="2229707" cy="639989"/>
              <a:chOff x="803520" y="1881281"/>
              <a:chExt cx="2230024" cy="640080"/>
            </a:xfrm>
          </p:grpSpPr>
          <p:sp>
            <p:nvSpPr>
              <p:cNvPr id="142" name="Rectangle 141"/>
              <p:cNvSpPr/>
              <p:nvPr/>
            </p:nvSpPr>
            <p:spPr>
              <a:xfrm>
                <a:off x="803520" y="1881281"/>
                <a:ext cx="2230024" cy="640080"/>
              </a:xfrm>
              <a:prstGeom prst="rect">
                <a:avLst/>
              </a:prstGeom>
              <a:solidFill>
                <a:srgbClr val="0095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16954" tIns="58475" rIns="116954" bIns="58475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8390">
                  <a:defRPr/>
                </a:pPr>
                <a:endParaRPr lang="en-US" sz="1765" kern="0" dirty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143" name="TextBox 142"/>
              <p:cNvSpPr txBox="1"/>
              <p:nvPr/>
            </p:nvSpPr>
            <p:spPr>
              <a:xfrm>
                <a:off x="1121106" y="1886159"/>
                <a:ext cx="1702127" cy="627912"/>
              </a:xfrm>
              <a:prstGeom prst="rect">
                <a:avLst/>
              </a:prstGeom>
              <a:solidFill>
                <a:srgbClr val="009580"/>
              </a:solidFill>
              <a:ln>
                <a:noFill/>
              </a:ln>
            </p:spPr>
            <p:txBody>
              <a:bodyPr wrap="square" lIns="179259" tIns="143407" rIns="179259" bIns="143407" rtlCol="0" anchor="ctr">
                <a:spAutoFit/>
              </a:bodyPr>
              <a:lstStyle/>
              <a:p>
                <a:pPr defTabSz="896386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2353" kern="0" dirty="0">
                    <a:solidFill>
                      <a:srgbClr val="FFFFFF"/>
                    </a:solidFill>
                    <a:latin typeface="Segoe UI Light"/>
                  </a:rPr>
                  <a:t>Language</a:t>
                </a:r>
              </a:p>
            </p:txBody>
          </p:sp>
        </p:grpSp>
        <p:pic>
          <p:nvPicPr>
            <p:cNvPr id="141" name="Picture 140"/>
            <p:cNvPicPr>
              <a:picLocks noChangeAspect="1"/>
            </p:cNvPicPr>
            <p:nvPr/>
          </p:nvPicPr>
          <p:blipFill rotWithShape="1">
            <a:blip r:embed="rId10"/>
            <a:srcRect l="32940" r="32675"/>
            <a:stretch/>
          </p:blipFill>
          <p:spPr>
            <a:xfrm>
              <a:off x="5440121" y="6156135"/>
              <a:ext cx="436594" cy="586543"/>
            </a:xfrm>
            <a:prstGeom prst="rect">
              <a:avLst/>
            </a:prstGeom>
          </p:spPr>
        </p:pic>
      </p:grpSp>
      <p:grpSp>
        <p:nvGrpSpPr>
          <p:cNvPr id="144" name="Group 143"/>
          <p:cNvGrpSpPr/>
          <p:nvPr/>
        </p:nvGrpSpPr>
        <p:grpSpPr>
          <a:xfrm>
            <a:off x="7327113" y="1729865"/>
            <a:ext cx="2178718" cy="627408"/>
            <a:chOff x="8998377" y="5261265"/>
            <a:chExt cx="2222406" cy="639989"/>
          </a:xfrm>
        </p:grpSpPr>
        <p:grpSp>
          <p:nvGrpSpPr>
            <p:cNvPr id="145" name="Group 144"/>
            <p:cNvGrpSpPr/>
            <p:nvPr/>
          </p:nvGrpSpPr>
          <p:grpSpPr>
            <a:xfrm>
              <a:off x="8998377" y="5261265"/>
              <a:ext cx="2222406" cy="639989"/>
              <a:chOff x="803520" y="1881281"/>
              <a:chExt cx="2222721" cy="640080"/>
            </a:xfrm>
          </p:grpSpPr>
          <p:sp>
            <p:nvSpPr>
              <p:cNvPr id="147" name="Rectangle 146"/>
              <p:cNvSpPr/>
              <p:nvPr/>
            </p:nvSpPr>
            <p:spPr>
              <a:xfrm>
                <a:off x="803520" y="1881281"/>
                <a:ext cx="2222721" cy="640080"/>
              </a:xfrm>
              <a:prstGeom prst="rect">
                <a:avLst/>
              </a:prstGeom>
              <a:solidFill>
                <a:srgbClr val="0095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16954" tIns="58475" rIns="116954" bIns="58475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8390">
                  <a:defRPr/>
                </a:pPr>
                <a:endParaRPr lang="en-US" sz="1765" kern="0" dirty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148" name="TextBox 147"/>
              <p:cNvSpPr txBox="1"/>
              <p:nvPr/>
            </p:nvSpPr>
            <p:spPr>
              <a:xfrm>
                <a:off x="1147970" y="1886159"/>
                <a:ext cx="1824157" cy="627912"/>
              </a:xfrm>
              <a:prstGeom prst="rect">
                <a:avLst/>
              </a:prstGeom>
              <a:solidFill>
                <a:srgbClr val="009580"/>
              </a:solidFill>
              <a:ln>
                <a:noFill/>
              </a:ln>
            </p:spPr>
            <p:txBody>
              <a:bodyPr wrap="square" lIns="179259" tIns="143407" rIns="179259" bIns="143407" rtlCol="0" anchor="ctr">
                <a:spAutoFit/>
              </a:bodyPr>
              <a:lstStyle/>
              <a:p>
                <a:pPr defTabSz="896386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2353" kern="0" dirty="0">
                    <a:solidFill>
                      <a:srgbClr val="FFFFFF"/>
                    </a:solidFill>
                    <a:latin typeface="Segoe UI Light"/>
                  </a:rPr>
                  <a:t>Knowledge</a:t>
                </a:r>
              </a:p>
            </p:txBody>
          </p:sp>
        </p:grpSp>
        <p:pic>
          <p:nvPicPr>
            <p:cNvPr id="146" name="Picture 145"/>
            <p:cNvPicPr>
              <a:picLocks noChangeAspect="1"/>
            </p:cNvPicPr>
            <p:nvPr/>
          </p:nvPicPr>
          <p:blipFill rotWithShape="1">
            <a:blip r:embed="rId11"/>
            <a:srcRect l="30301" r="30896"/>
            <a:stretch/>
          </p:blipFill>
          <p:spPr>
            <a:xfrm>
              <a:off x="9014319" y="5275006"/>
              <a:ext cx="496639" cy="591240"/>
            </a:xfrm>
            <a:prstGeom prst="rect">
              <a:avLst/>
            </a:prstGeom>
          </p:spPr>
        </p:pic>
      </p:grpSp>
      <p:grpSp>
        <p:nvGrpSpPr>
          <p:cNvPr id="149" name="Group 148"/>
          <p:cNvGrpSpPr/>
          <p:nvPr/>
        </p:nvGrpSpPr>
        <p:grpSpPr>
          <a:xfrm>
            <a:off x="472030" y="1720570"/>
            <a:ext cx="2099968" cy="627408"/>
            <a:chOff x="1917039" y="5309640"/>
            <a:chExt cx="2218998" cy="639989"/>
          </a:xfrm>
        </p:grpSpPr>
        <p:grpSp>
          <p:nvGrpSpPr>
            <p:cNvPr id="150" name="Group 149"/>
            <p:cNvGrpSpPr/>
            <p:nvPr/>
          </p:nvGrpSpPr>
          <p:grpSpPr>
            <a:xfrm>
              <a:off x="1917039" y="5309640"/>
              <a:ext cx="2218998" cy="639989"/>
              <a:chOff x="803520" y="1881281"/>
              <a:chExt cx="2219313" cy="640080"/>
            </a:xfrm>
          </p:grpSpPr>
          <p:sp>
            <p:nvSpPr>
              <p:cNvPr id="152" name="Rectangle 151"/>
              <p:cNvSpPr/>
              <p:nvPr/>
            </p:nvSpPr>
            <p:spPr>
              <a:xfrm>
                <a:off x="803520" y="1881281"/>
                <a:ext cx="2219313" cy="640080"/>
              </a:xfrm>
              <a:prstGeom prst="rect">
                <a:avLst/>
              </a:prstGeom>
              <a:solidFill>
                <a:srgbClr val="00958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16954" tIns="58475" rIns="116954" bIns="58475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8390">
                  <a:defRPr/>
                </a:pPr>
                <a:endParaRPr lang="en-US" sz="1765" kern="0" dirty="0">
                  <a:solidFill>
                    <a:srgbClr val="FFFFFF"/>
                  </a:solidFill>
                  <a:latin typeface="Segoe UI Light"/>
                </a:endParaRPr>
              </a:p>
            </p:txBody>
          </p:sp>
          <p:sp>
            <p:nvSpPr>
              <p:cNvPr id="153" name="TextBox 152"/>
              <p:cNvSpPr txBox="1"/>
              <p:nvPr/>
            </p:nvSpPr>
            <p:spPr>
              <a:xfrm>
                <a:off x="1227725" y="1886159"/>
                <a:ext cx="1177272" cy="627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179259" tIns="143407" rIns="179259" bIns="143407" rtlCol="0" anchor="ctr">
                <a:spAutoFit/>
              </a:bodyPr>
              <a:lstStyle/>
              <a:p>
                <a:pPr defTabSz="896386">
                  <a:lnSpc>
                    <a:spcPct val="90000"/>
                  </a:lnSpc>
                  <a:spcAft>
                    <a:spcPts val="588"/>
                  </a:spcAft>
                </a:pPr>
                <a:r>
                  <a:rPr lang="en-US" sz="2353" kern="0" dirty="0">
                    <a:solidFill>
                      <a:srgbClr val="FFFFFF"/>
                    </a:solidFill>
                    <a:latin typeface="Segoe UI Light"/>
                  </a:rPr>
                  <a:t>Vision</a:t>
                </a:r>
              </a:p>
            </p:txBody>
          </p:sp>
        </p:grpSp>
        <p:pic>
          <p:nvPicPr>
            <p:cNvPr id="151" name="Picture 150"/>
            <p:cNvPicPr>
              <a:picLocks noChangeAspect="1"/>
            </p:cNvPicPr>
            <p:nvPr/>
          </p:nvPicPr>
          <p:blipFill rotWithShape="1">
            <a:blip r:embed="rId12"/>
            <a:srcRect l="29083" r="28636"/>
            <a:stretch/>
          </p:blipFill>
          <p:spPr>
            <a:xfrm>
              <a:off x="1923460" y="5350948"/>
              <a:ext cx="523195" cy="573124"/>
            </a:xfrm>
            <a:prstGeom prst="rect">
              <a:avLst/>
            </a:prstGeom>
          </p:spPr>
        </p:pic>
      </p:grpSp>
      <p:grpSp>
        <p:nvGrpSpPr>
          <p:cNvPr id="154" name="Group 153"/>
          <p:cNvGrpSpPr/>
          <p:nvPr/>
        </p:nvGrpSpPr>
        <p:grpSpPr>
          <a:xfrm>
            <a:off x="5026006" y="3097075"/>
            <a:ext cx="2171620" cy="627407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55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9793736" y="5125889"/>
              <a:ext cx="2211413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Linguistic Analysis</a:t>
              </a: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5026006" y="3772606"/>
            <a:ext cx="2171625" cy="627407"/>
            <a:chOff x="9701909" y="5630862"/>
            <a:chExt cx="2459932" cy="533400"/>
          </a:xfrm>
          <a:solidFill>
            <a:srgbClr val="D2D2D2"/>
          </a:solidFill>
        </p:grpSpPr>
        <p:sp>
          <p:nvSpPr>
            <p:cNvPr id="158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9795160" y="5631889"/>
              <a:ext cx="2354349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Language Understanding</a:t>
              </a: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5028160" y="2421541"/>
            <a:ext cx="2172490" cy="627404"/>
            <a:chOff x="9701907" y="3192460"/>
            <a:chExt cx="2459932" cy="533400"/>
          </a:xfrm>
          <a:solidFill>
            <a:srgbClr val="D2D2D2"/>
          </a:solidFill>
        </p:grpSpPr>
        <p:sp>
          <p:nvSpPr>
            <p:cNvPr id="161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9836196" y="3268662"/>
              <a:ext cx="2325642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Bing Spell Check</a:t>
              </a: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7327113" y="3079597"/>
            <a:ext cx="2171546" cy="627407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64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9869331" y="5125889"/>
              <a:ext cx="2143840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Entity Linking</a:t>
              </a: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7319248" y="3755128"/>
            <a:ext cx="2179416" cy="627407"/>
            <a:chOff x="9701909" y="5630862"/>
            <a:chExt cx="2459932" cy="533400"/>
          </a:xfrm>
          <a:solidFill>
            <a:srgbClr val="D2D2D2"/>
          </a:solidFill>
        </p:grpSpPr>
        <p:sp>
          <p:nvSpPr>
            <p:cNvPr id="167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9870712" y="5631889"/>
              <a:ext cx="2130568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Knowledge Exploration</a:t>
              </a: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7319248" y="2404063"/>
            <a:ext cx="2182436" cy="627404"/>
            <a:chOff x="9701907" y="3192460"/>
            <a:chExt cx="2459932" cy="533400"/>
          </a:xfrm>
          <a:solidFill>
            <a:srgbClr val="D2D2D2"/>
          </a:solidFill>
        </p:grpSpPr>
        <p:sp>
          <p:nvSpPr>
            <p:cNvPr id="170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9857784" y="3268662"/>
              <a:ext cx="2143840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Academic Knowledge </a:t>
              </a: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9634371" y="3079597"/>
            <a:ext cx="2175914" cy="627407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73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9815712" y="5125889"/>
              <a:ext cx="2289449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Bing </a:t>
              </a:r>
            </a:p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Image Search</a:t>
              </a:r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9648219" y="3755128"/>
            <a:ext cx="2170535" cy="627407"/>
            <a:chOff x="9701909" y="5630862"/>
            <a:chExt cx="2459932" cy="533400"/>
          </a:xfrm>
          <a:solidFill>
            <a:srgbClr val="D2D2D2"/>
          </a:solidFill>
        </p:grpSpPr>
        <p:sp>
          <p:nvSpPr>
            <p:cNvPr id="176" name="Flowchart: Process 8"/>
            <p:cNvSpPr/>
            <p:nvPr/>
          </p:nvSpPr>
          <p:spPr bwMode="auto">
            <a:xfrm>
              <a:off x="9701909" y="56308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9871713" y="5631889"/>
              <a:ext cx="2233474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Bing </a:t>
              </a:r>
            </a:p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Video Search</a:t>
              </a:r>
            </a:p>
          </p:txBody>
        </p:sp>
      </p:grpSp>
      <p:grpSp>
        <p:nvGrpSpPr>
          <p:cNvPr id="178" name="Group 177"/>
          <p:cNvGrpSpPr/>
          <p:nvPr/>
        </p:nvGrpSpPr>
        <p:grpSpPr>
          <a:xfrm>
            <a:off x="9634372" y="2404063"/>
            <a:ext cx="2178939" cy="627404"/>
            <a:chOff x="9701907" y="3192460"/>
            <a:chExt cx="2459932" cy="533400"/>
          </a:xfrm>
          <a:solidFill>
            <a:srgbClr val="D2D2D2"/>
          </a:solidFill>
        </p:grpSpPr>
        <p:sp>
          <p:nvSpPr>
            <p:cNvPr id="179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9812188" y="3268663"/>
              <a:ext cx="2289447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Bing </a:t>
              </a:r>
            </a:p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Web Search</a:t>
              </a:r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5026006" y="5121411"/>
            <a:ext cx="2168049" cy="627407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82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9797893" y="5125889"/>
              <a:ext cx="2315047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Web Language Model</a:t>
              </a: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5026006" y="4445877"/>
            <a:ext cx="2174643" cy="627404"/>
            <a:chOff x="9701907" y="3192460"/>
            <a:chExt cx="2459932" cy="533400"/>
          </a:xfrm>
          <a:solidFill>
            <a:srgbClr val="D2D2D2"/>
          </a:solidFill>
        </p:grpSpPr>
        <p:sp>
          <p:nvSpPr>
            <p:cNvPr id="185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9794370" y="3268662"/>
              <a:ext cx="2315046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Text Analytics</a:t>
              </a:r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7319249" y="4427324"/>
            <a:ext cx="2186582" cy="627407"/>
            <a:chOff x="9701909" y="5630862"/>
            <a:chExt cx="2542224" cy="533400"/>
          </a:xfrm>
          <a:solidFill>
            <a:srgbClr val="D2D2D2"/>
          </a:solidFill>
        </p:grpSpPr>
        <p:sp>
          <p:nvSpPr>
            <p:cNvPr id="188" name="Flowchart: Process 8"/>
            <p:cNvSpPr/>
            <p:nvPr/>
          </p:nvSpPr>
          <p:spPr bwMode="auto">
            <a:xfrm>
              <a:off x="9701909" y="5630862"/>
              <a:ext cx="2542224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9870711" y="5631889"/>
              <a:ext cx="2373422" cy="53095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Recommendations</a:t>
              </a:r>
            </a:p>
          </p:txBody>
        </p:sp>
      </p:grpSp>
      <p:grpSp>
        <p:nvGrpSpPr>
          <p:cNvPr id="190" name="Group 189"/>
          <p:cNvGrpSpPr/>
          <p:nvPr/>
        </p:nvGrpSpPr>
        <p:grpSpPr>
          <a:xfrm>
            <a:off x="9634372" y="5110755"/>
            <a:ext cx="2181358" cy="627407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91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9863993" y="5125889"/>
              <a:ext cx="2149178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Bing </a:t>
              </a:r>
            </a:p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Autosuggest</a:t>
              </a: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9648219" y="4435221"/>
            <a:ext cx="2170535" cy="627404"/>
            <a:chOff x="9701907" y="3192460"/>
            <a:chExt cx="2459932" cy="533400"/>
          </a:xfrm>
          <a:solidFill>
            <a:srgbClr val="D2D2D2"/>
          </a:solidFill>
        </p:grpSpPr>
        <p:sp>
          <p:nvSpPr>
            <p:cNvPr id="194" name="Flowchart: Process 8"/>
            <p:cNvSpPr/>
            <p:nvPr/>
          </p:nvSpPr>
          <p:spPr bwMode="auto">
            <a:xfrm>
              <a:off x="9701907" y="3192460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9860469" y="3268662"/>
              <a:ext cx="2234825" cy="38865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Bing </a:t>
              </a:r>
            </a:p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News Search</a:t>
              </a:r>
            </a:p>
          </p:txBody>
        </p:sp>
      </p:grpSp>
      <p:sp>
        <p:nvSpPr>
          <p:cNvPr id="196" name="Rectangle 195"/>
          <p:cNvSpPr/>
          <p:nvPr/>
        </p:nvSpPr>
        <p:spPr>
          <a:xfrm>
            <a:off x="396622" y="1565387"/>
            <a:ext cx="11528459" cy="4786711"/>
          </a:xfrm>
          <a:prstGeom prst="rect">
            <a:avLst/>
          </a:prstGeom>
          <a:noFill/>
          <a:ln w="10795" cap="flat" cmpd="sng" algn="ctr">
            <a:solidFill>
              <a:srgbClr val="0078D7">
                <a:lumMod val="40000"/>
                <a:lumOff val="60000"/>
              </a:srgbClr>
            </a:solidFill>
            <a:prstDash val="lgDash"/>
          </a:ln>
          <a:effectLst/>
        </p:spPr>
        <p:txBody>
          <a:bodyPr lIns="119332" tIns="59666" rIns="119332" bIns="59666" rtlCol="0" anchor="b"/>
          <a:lstStyle/>
          <a:p>
            <a:pPr marL="0" marR="0" lvl="0" indent="0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78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97" name="Group 196"/>
          <p:cNvGrpSpPr/>
          <p:nvPr/>
        </p:nvGrpSpPr>
        <p:grpSpPr>
          <a:xfrm>
            <a:off x="5021609" y="5808908"/>
            <a:ext cx="2168049" cy="393786"/>
            <a:chOff x="9701909" y="5021262"/>
            <a:chExt cx="2459932" cy="533400"/>
          </a:xfrm>
          <a:solidFill>
            <a:srgbClr val="D2D2D2"/>
          </a:solidFill>
        </p:grpSpPr>
        <p:sp>
          <p:nvSpPr>
            <p:cNvPr id="198" name="Flowchart: Process 8"/>
            <p:cNvSpPr/>
            <p:nvPr/>
          </p:nvSpPr>
          <p:spPr bwMode="auto">
            <a:xfrm>
              <a:off x="9701909" y="5021262"/>
              <a:ext cx="2459932" cy="5334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7854" tIns="87854" rIns="32949" bIns="32949" rtlCol="0" anchor="b" anchorCtr="0"/>
            <a:lstStyle/>
            <a:p>
              <a:pPr marL="0" marR="0" lvl="0" indent="0" algn="ctr" defTabSz="8956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9" name="Rectangle 198"/>
            <p:cNvSpPr/>
            <p:nvPr/>
          </p:nvSpPr>
          <p:spPr>
            <a:xfrm>
              <a:off x="9797893" y="5125889"/>
              <a:ext cx="2315047" cy="3241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116954" tIns="58475" rIns="116954" bIns="58475" rtlCol="0" anchor="ctr"/>
            <a:lstStyle/>
            <a:p>
              <a:pPr marL="0" marR="0" lvl="0" indent="0" defTabSz="8783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404040"/>
                      </a:gs>
                      <a:gs pos="100000">
                        <a:srgbClr val="40404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</a:rPr>
                <a:t>Translator</a:t>
              </a: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19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834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24 -0.00227 L 4.15114E-6 0.00022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3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23 -0.00227 L -2.90273E-6 0.00022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23 -0.00227 L -4.06433E-6 0.00023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3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23 -0.00227 L -5.51442E-7 0.00023 " pathEditMode="relative" rAng="0" ptsTypes="AA">
                                      <p:cBhvr>
                                        <p:cTn id="35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24 -0.00227 L 4.05923E-6 0.00023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3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23 -0.00227 L -6.4335E-7 0.00023 " pathEditMode="relative" rAng="0" ptsTypes="AA">
                                      <p:cBhvr>
                                        <p:cTn id="47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23 -0.00227 L -6.4335E-7 0.00023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23 -0.00227 L -2.51979E-6 0.00022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3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24 -0.00227 L 2.77764E-6 0.00022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24 -0.00227 L 2.77764E-6 0.00023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3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24 -0.00227 L 2.77764E-6 0.00023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3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23 -0.00227 L -1.92494E-6 0.00022 " pathEditMode="relative" rAng="0" ptsTypes="AA">
                                      <p:cBhvr>
                                        <p:cTn id="79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23 -0.00227 L -1.92494E-6 0.00022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23 -0.00227 L -4.96298E-6 0.00023 " pathEditMode="relative" rAng="0" ptsTypes="AA">
                                      <p:cBhvr>
                                        <p:cTn id="91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23 -0.00227 L 3.3444E-7 0.00023 " pathEditMode="relative" rAng="0" ptsTypes="AA">
                                      <p:cBhvr>
                                        <p:cTn id="96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23 -0.00227 L 3.3444E-7 0.00023 " pathEditMode="relative" rAng="0" ptsTypes="AA">
                                      <p:cBhvr>
                                        <p:cTn id="101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63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23 -0.00227 L 2.0628E-6 0.00023 " pathEditMode="relative" rAng="0" ptsTypes="AA">
                                      <p:cBhvr>
                                        <p:cTn id="106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23 -0.00227 L -3.29844E-6 0.00023 " pathEditMode="relative" rAng="0" ptsTypes="AA">
                                      <p:cBhvr>
                                        <p:cTn id="113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63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23 -0.00227 L 1.99898E-6 0.00023 " pathEditMode="relative" rAng="0" ptsTypes="AA">
                                      <p:cBhvr>
                                        <p:cTn id="11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23 -0.00227 L 1.99898E-6 0.00023 " pathEditMode="relative" rAng="0" ptsTypes="AA">
                                      <p:cBhvr>
                                        <p:cTn id="123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63" presetClass="pat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723 -0.00227 L -3.89329E-6 0.00022 " pathEditMode="relative" rAng="0" ptsTypes="AA">
                                      <p:cBhvr>
                                        <p:cTn id="128" dur="5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63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723 -0.00227 L 1.40414E-6 0.00022 " pathEditMode="relative" rAng="0" ptsTypes="AA">
                                      <p:cBhvr>
                                        <p:cTn id="133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00" y="11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/>
      <p:bldP spid="105" grpId="0"/>
      <p:bldP spid="19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92500" y="173212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8221" y="1732120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bout Neal Analytics (Company Background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92499" y="2397439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8220" y="2397439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view of Your Current Situation/Objective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92500" y="30627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38221" y="30627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sign Principles and Architecture - Break	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92499" y="372803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55707" y="37280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mos –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nA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Maker Bot (OOTB), REI Bot (OOTB), Decision Tree Bot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92499" y="43852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38220" y="43852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&amp;A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92499" y="106680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38220" y="1066800"/>
            <a:ext cx="11391830" cy="5770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811823" y="2455152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635492" y="3120431"/>
            <a:ext cx="11945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 min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673818" y="3785751"/>
            <a:ext cx="11737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5 min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669155" y="4442931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811822" y="1789791"/>
            <a:ext cx="10182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 mi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7054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588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26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d Implement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2235785" y="1066802"/>
            <a:ext cx="3817845" cy="10461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tlCol="0" anchor="t">
            <a:noAutofit/>
          </a:bodyPr>
          <a:lstStyle/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tive Directory Integration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inite scale through Azure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oud fabric</a:t>
            </a:r>
          </a:p>
        </p:txBody>
      </p:sp>
      <p:sp>
        <p:nvSpPr>
          <p:cNvPr id="5" name="Rectangle 4"/>
          <p:cNvSpPr/>
          <p:nvPr/>
        </p:nvSpPr>
        <p:spPr>
          <a:xfrm>
            <a:off x="8013700" y="1066802"/>
            <a:ext cx="3817845" cy="10461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bstracted language framework for easy extensibility (meta-data driven content organization and text/labels)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nguage packs to unlock bot methodology and training in other languag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71475" y="1066802"/>
            <a:ext cx="1864310" cy="10461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149390" y="1066802"/>
            <a:ext cx="1864310" cy="10461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anguage</a:t>
            </a:r>
          </a:p>
        </p:txBody>
      </p:sp>
      <p:sp>
        <p:nvSpPr>
          <p:cNvPr id="9" name="Rectangle 8"/>
          <p:cNvSpPr/>
          <p:nvPr/>
        </p:nvSpPr>
        <p:spPr>
          <a:xfrm>
            <a:off x="2235785" y="2202079"/>
            <a:ext cx="3817845" cy="10461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Hierarchies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partmental Bots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Frameworks for easy instantiation and shared learning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13700" y="2202079"/>
            <a:ext cx="3817845" cy="10461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active and reactive failover to humans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hancement through the human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e-processing and checks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and and Customer SAT assuranc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1475" y="2202079"/>
            <a:ext cx="1864310" cy="10461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t Portfolio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149390" y="2202079"/>
            <a:ext cx="1864310" cy="10461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uman-in-loop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235785" y="3337355"/>
            <a:ext cx="3817845" cy="10461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cal Style/Intent/Culture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ntiment/EQ tracking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oticons and symbol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013700" y="3337355"/>
            <a:ext cx="3817845" cy="10461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i-directional info flow with the enterprise systems of record (apps)</a:t>
            </a:r>
          </a:p>
          <a:p>
            <a:pPr marL="137160" indent="-13716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-aware and business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OI focu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71475" y="3337355"/>
            <a:ext cx="1864310" cy="10461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caliza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149390" y="3337355"/>
            <a:ext cx="1864310" cy="10461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bIns="91440" rtlCol="0" anchor="b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ntegratio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200940" y="4500912"/>
            <a:ext cx="3774890" cy="221504"/>
          </a:xfrm>
          <a:prstGeom prst="rect">
            <a:avLst/>
          </a:prstGeom>
          <a:noFill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Scale to 10,000+ employe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40937" y="4500912"/>
            <a:ext cx="3779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Knowledge/Skills Transfer to </a:t>
            </a:r>
            <a:r>
              <a:rPr lang="en-US" sz="1100" i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st</a:t>
            </a:r>
            <a:r>
              <a:rPr kumimoji="0" lang="en-US" sz="1100" b="0" i="1" u="none" strike="noStrike" kern="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 IT/Procurement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54026" y="5719123"/>
            <a:ext cx="17335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</a:rPr>
              <a:t>Efficient design and hooks for scaling and max throughput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279139" y="5719123"/>
            <a:ext cx="185269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</a:rPr>
              <a:t>Expand “load” to test multiple stores (&lt;10) – concurrency, variability in speech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200940" y="5719123"/>
            <a:ext cx="185269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</a:rPr>
              <a:t>Phased rollout to regional clusters and national scale – change management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122741" y="5719123"/>
            <a:ext cx="18530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</a:rPr>
              <a:t>Stabilize, monitor SLAs, rapid stabilization sprints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040937" y="5719123"/>
            <a:ext cx="186030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</a:rPr>
              <a:t>Steady-state improvements, on-going menu changes, user suppo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9966345" y="5719123"/>
            <a:ext cx="17970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</a:rPr>
              <a:t>Accuracy and impact assessments and improvements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71476" y="5439266"/>
            <a:ext cx="11449050" cy="866283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txBody>
          <a:bodyPr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Key Success Factors</a:t>
            </a:r>
          </a:p>
        </p:txBody>
      </p:sp>
      <p:sp>
        <p:nvSpPr>
          <p:cNvPr id="33" name="Pentagon 5"/>
          <p:cNvSpPr/>
          <p:nvPr/>
        </p:nvSpPr>
        <p:spPr>
          <a:xfrm>
            <a:off x="371475" y="4765987"/>
            <a:ext cx="2021018" cy="616016"/>
          </a:xfrm>
          <a:prstGeom prst="homePlate">
            <a:avLst>
              <a:gd name="adj" fmla="val 28333"/>
            </a:avLst>
          </a:prstGeom>
          <a:solidFill>
            <a:schemeClr val="bg2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Small-footprint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(users, location) Pilot</a:t>
            </a:r>
          </a:p>
        </p:txBody>
      </p:sp>
      <p:sp>
        <p:nvSpPr>
          <p:cNvPr id="34" name="Chevron 31"/>
          <p:cNvSpPr/>
          <p:nvPr/>
        </p:nvSpPr>
        <p:spPr>
          <a:xfrm>
            <a:off x="2279139" y="4765987"/>
            <a:ext cx="2035155" cy="616016"/>
          </a:xfrm>
          <a:prstGeom prst="chevron">
            <a:avLst>
              <a:gd name="adj" fmla="val 28596"/>
            </a:avLst>
          </a:prstGeom>
          <a:solidFill>
            <a:schemeClr val="bg2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Limited Rollout (complet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dep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/geo)</a:t>
            </a:r>
          </a:p>
        </p:txBody>
      </p:sp>
      <p:sp>
        <p:nvSpPr>
          <p:cNvPr id="35" name="Chevron 32"/>
          <p:cNvSpPr/>
          <p:nvPr/>
        </p:nvSpPr>
        <p:spPr>
          <a:xfrm>
            <a:off x="4200940" y="4765987"/>
            <a:ext cx="2035155" cy="616016"/>
          </a:xfrm>
          <a:prstGeom prst="chevron">
            <a:avLst>
              <a:gd name="adj" fmla="val 28596"/>
            </a:avLst>
          </a:prstGeom>
          <a:solidFill>
            <a:schemeClr val="bg2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Broad Rollout</a:t>
            </a:r>
          </a:p>
        </p:txBody>
      </p:sp>
      <p:sp>
        <p:nvSpPr>
          <p:cNvPr id="36" name="Chevron 33"/>
          <p:cNvSpPr/>
          <p:nvPr/>
        </p:nvSpPr>
        <p:spPr>
          <a:xfrm>
            <a:off x="6122741" y="4765987"/>
            <a:ext cx="2035155" cy="616016"/>
          </a:xfrm>
          <a:prstGeom prst="chevron">
            <a:avLst>
              <a:gd name="adj" fmla="val 28596"/>
            </a:avLst>
          </a:prstGeom>
          <a:solidFill>
            <a:schemeClr val="bg2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Sustain Steady-state</a:t>
            </a:r>
          </a:p>
        </p:txBody>
      </p:sp>
      <p:sp>
        <p:nvSpPr>
          <p:cNvPr id="37" name="Chevron 34"/>
          <p:cNvSpPr/>
          <p:nvPr/>
        </p:nvSpPr>
        <p:spPr>
          <a:xfrm>
            <a:off x="8044542" y="4765987"/>
            <a:ext cx="2035155" cy="616016"/>
          </a:xfrm>
          <a:prstGeom prst="chevron">
            <a:avLst>
              <a:gd name="adj" fmla="val 28596"/>
            </a:avLst>
          </a:prstGeom>
          <a:solidFill>
            <a:schemeClr val="bg2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Remediation &amp; Support</a:t>
            </a:r>
          </a:p>
        </p:txBody>
      </p:sp>
      <p:sp>
        <p:nvSpPr>
          <p:cNvPr id="38" name="Chevron 39"/>
          <p:cNvSpPr/>
          <p:nvPr/>
        </p:nvSpPr>
        <p:spPr>
          <a:xfrm>
            <a:off x="9966345" y="4765987"/>
            <a:ext cx="2035155" cy="616016"/>
          </a:xfrm>
          <a:prstGeom prst="chevron">
            <a:avLst>
              <a:gd name="adj" fmla="val 28596"/>
            </a:avLst>
          </a:prstGeom>
          <a:solidFill>
            <a:schemeClr val="bg2"/>
          </a:solidFill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Continuous Improvement (models)</a:t>
            </a:r>
          </a:p>
        </p:txBody>
      </p:sp>
      <p:sp>
        <p:nvSpPr>
          <p:cNvPr id="57" name="Freeform: Shape 56"/>
          <p:cNvSpPr/>
          <p:nvPr/>
        </p:nvSpPr>
        <p:spPr>
          <a:xfrm>
            <a:off x="4200940" y="4765987"/>
            <a:ext cx="3956956" cy="616016"/>
          </a:xfrm>
          <a:custGeom>
            <a:avLst/>
            <a:gdLst>
              <a:gd name="connsiteX0" fmla="*/ 0 w 3956956"/>
              <a:gd name="connsiteY0" fmla="*/ 0 h 616016"/>
              <a:gd name="connsiteX1" fmla="*/ 1921801 w 3956956"/>
              <a:gd name="connsiteY1" fmla="*/ 0 h 616016"/>
              <a:gd name="connsiteX2" fmla="*/ 2074504 w 3956956"/>
              <a:gd name="connsiteY2" fmla="*/ 0 h 616016"/>
              <a:gd name="connsiteX3" fmla="*/ 3780800 w 3956956"/>
              <a:gd name="connsiteY3" fmla="*/ 0 h 616016"/>
              <a:gd name="connsiteX4" fmla="*/ 3956956 w 3956956"/>
              <a:gd name="connsiteY4" fmla="*/ 308008 h 616016"/>
              <a:gd name="connsiteX5" fmla="*/ 3780800 w 3956956"/>
              <a:gd name="connsiteY5" fmla="*/ 616016 h 616016"/>
              <a:gd name="connsiteX6" fmla="*/ 2074504 w 3956956"/>
              <a:gd name="connsiteY6" fmla="*/ 616016 h 616016"/>
              <a:gd name="connsiteX7" fmla="*/ 1921801 w 3956956"/>
              <a:gd name="connsiteY7" fmla="*/ 616016 h 616016"/>
              <a:gd name="connsiteX8" fmla="*/ 0 w 3956956"/>
              <a:gd name="connsiteY8" fmla="*/ 616016 h 616016"/>
              <a:gd name="connsiteX9" fmla="*/ 176156 w 3956956"/>
              <a:gd name="connsiteY9" fmla="*/ 308008 h 61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56956" h="616016">
                <a:moveTo>
                  <a:pt x="0" y="0"/>
                </a:moveTo>
                <a:lnTo>
                  <a:pt x="1921801" y="0"/>
                </a:lnTo>
                <a:lnTo>
                  <a:pt x="2074504" y="0"/>
                </a:lnTo>
                <a:lnTo>
                  <a:pt x="3780800" y="0"/>
                </a:lnTo>
                <a:lnTo>
                  <a:pt x="3956956" y="308008"/>
                </a:lnTo>
                <a:lnTo>
                  <a:pt x="3780800" y="616016"/>
                </a:lnTo>
                <a:lnTo>
                  <a:pt x="2074504" y="616016"/>
                </a:lnTo>
                <a:lnTo>
                  <a:pt x="1921801" y="616016"/>
                </a:lnTo>
                <a:lnTo>
                  <a:pt x="0" y="616016"/>
                </a:lnTo>
                <a:lnTo>
                  <a:pt x="176156" y="308008"/>
                </a:lnTo>
                <a:close/>
              </a:path>
            </a:pathLst>
          </a:custGeom>
          <a:noFill/>
          <a:ln w="38100">
            <a:solidFill>
              <a:srgbClr val="0070C0"/>
            </a:solidFill>
            <a:prstDash val="dash"/>
          </a:ln>
        </p:spPr>
        <p:txBody>
          <a:bodyPr rtlCol="0" anchor="ctr">
            <a:noAutofit/>
          </a:bodyPr>
          <a:lstStyle/>
          <a:p>
            <a:pPr algn="ctr"/>
            <a:endParaRPr lang="en-US" sz="1600" kern="0" dirty="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69650" y="1221974"/>
            <a:ext cx="1467961" cy="460382"/>
            <a:chOff x="554219" y="1219269"/>
            <a:chExt cx="1467961" cy="460382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7"/>
            <a:srcRect r="2258"/>
            <a:stretch/>
          </p:blipFill>
          <p:spPr>
            <a:xfrm>
              <a:off x="1516792" y="1219269"/>
              <a:ext cx="505388" cy="460382"/>
            </a:xfrm>
            <a:custGeom>
              <a:avLst/>
              <a:gdLst>
                <a:gd name="connsiteX0" fmla="*/ 0 w 654434"/>
                <a:gd name="connsiteY0" fmla="*/ 0 h 583007"/>
                <a:gd name="connsiteX1" fmla="*/ 654434 w 654434"/>
                <a:gd name="connsiteY1" fmla="*/ 0 h 583007"/>
                <a:gd name="connsiteX2" fmla="*/ 654434 w 654434"/>
                <a:gd name="connsiteY2" fmla="*/ 583007 h 583007"/>
                <a:gd name="connsiteX3" fmla="*/ 0 w 654434"/>
                <a:gd name="connsiteY3" fmla="*/ 583007 h 58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434" h="583007">
                  <a:moveTo>
                    <a:pt x="0" y="0"/>
                  </a:moveTo>
                  <a:lnTo>
                    <a:pt x="654434" y="0"/>
                  </a:lnTo>
                  <a:lnTo>
                    <a:pt x="654434" y="583007"/>
                  </a:lnTo>
                  <a:lnTo>
                    <a:pt x="0" y="583007"/>
                  </a:lnTo>
                  <a:close/>
                </a:path>
              </a:pathLst>
            </a:cu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54219" y="1264525"/>
              <a:ext cx="273644" cy="369870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1062522" y="1310961"/>
              <a:ext cx="21961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latin typeface="+mn-lt"/>
                </a:rPr>
                <a:t>….</a:t>
              </a:r>
            </a:p>
          </p:txBody>
        </p:sp>
      </p:grpSp>
      <p:pic>
        <p:nvPicPr>
          <p:cNvPr id="51" name="Picture 5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1725" y="2239596"/>
            <a:ext cx="883810" cy="626304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896" r="1828"/>
          <a:stretch/>
        </p:blipFill>
        <p:spPr>
          <a:xfrm>
            <a:off x="857804" y="3413562"/>
            <a:ext cx="891652" cy="566600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11"/>
          <a:srcRect l="2012" t="3920" r="2012"/>
          <a:stretch/>
        </p:blipFill>
        <p:spPr>
          <a:xfrm>
            <a:off x="6230684" y="1149864"/>
            <a:ext cx="1701722" cy="529187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47397" y="2239596"/>
            <a:ext cx="868297" cy="635717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3226" b="97419" l="4898" r="94898">
                        <a14:backgroundMark x1="38980" y1="90000" x2="41837" y2="9387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33727" y="3393392"/>
            <a:ext cx="895637" cy="566627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20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7812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95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1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590931"/>
          </a:xfrm>
        </p:spPr>
        <p:txBody>
          <a:bodyPr/>
          <a:lstStyle/>
          <a:p>
            <a:r>
              <a:rPr lang="en-US" sz="3600" dirty="0"/>
              <a:t>Real-time view into performance of Bot</a:t>
            </a:r>
          </a:p>
        </p:txBody>
      </p:sp>
      <p:sp>
        <p:nvSpPr>
          <p:cNvPr id="57" name="TextBox 56"/>
          <p:cNvSpPr txBox="1"/>
          <p:nvPr/>
        </p:nvSpPr>
        <p:spPr>
          <a:xfrm rot="601057">
            <a:off x="10513024" y="309852"/>
            <a:ext cx="1290570" cy="307777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  <a:cs typeface="Segoe UI" panose="020B0502040204020203" pitchFamily="34" charset="0"/>
              </a:rPr>
              <a:t>ILLUSTRATIVE</a:t>
            </a: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357282" y="984663"/>
            <a:ext cx="8843868" cy="5320887"/>
          </a:xfrm>
          <a:custGeom>
            <a:avLst/>
            <a:gdLst>
              <a:gd name="T0" fmla="*/ 231 w 231"/>
              <a:gd name="T1" fmla="*/ 131 h 147"/>
              <a:gd name="T2" fmla="*/ 214 w 231"/>
              <a:gd name="T3" fmla="*/ 45 h 147"/>
              <a:gd name="T4" fmla="*/ 214 w 231"/>
              <a:gd name="T5" fmla="*/ 10 h 147"/>
              <a:gd name="T6" fmla="*/ 204 w 231"/>
              <a:gd name="T7" fmla="*/ 0 h 147"/>
              <a:gd name="T8" fmla="*/ 146 w 231"/>
              <a:gd name="T9" fmla="*/ 0 h 147"/>
              <a:gd name="T10" fmla="*/ 115 w 231"/>
              <a:gd name="T11" fmla="*/ 0 h 147"/>
              <a:gd name="T12" fmla="*/ 10 w 231"/>
              <a:gd name="T13" fmla="*/ 0 h 147"/>
              <a:gd name="T14" fmla="*/ 0 w 231"/>
              <a:gd name="T15" fmla="*/ 10 h 147"/>
              <a:gd name="T16" fmla="*/ 0 w 231"/>
              <a:gd name="T17" fmla="*/ 137 h 147"/>
              <a:gd name="T18" fmla="*/ 10 w 231"/>
              <a:gd name="T19" fmla="*/ 147 h 147"/>
              <a:gd name="T20" fmla="*/ 204 w 231"/>
              <a:gd name="T21" fmla="*/ 147 h 147"/>
              <a:gd name="T22" fmla="*/ 214 w 231"/>
              <a:gd name="T23" fmla="*/ 137 h 147"/>
              <a:gd name="T24" fmla="*/ 214 w 231"/>
              <a:gd name="T25" fmla="*/ 137 h 147"/>
              <a:gd name="T26" fmla="*/ 227 w 231"/>
              <a:gd name="T27" fmla="*/ 137 h 147"/>
              <a:gd name="T28" fmla="*/ 231 w 231"/>
              <a:gd name="T29" fmla="*/ 133 h 147"/>
              <a:gd name="T30" fmla="*/ 231 w 231"/>
              <a:gd name="T31" fmla="*/ 131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31" h="147">
                <a:moveTo>
                  <a:pt x="231" y="131"/>
                </a:moveTo>
                <a:cubicBezTo>
                  <a:pt x="214" y="45"/>
                  <a:pt x="214" y="45"/>
                  <a:pt x="214" y="45"/>
                </a:cubicBezTo>
                <a:cubicBezTo>
                  <a:pt x="214" y="10"/>
                  <a:pt x="214" y="10"/>
                  <a:pt x="214" y="10"/>
                </a:cubicBezTo>
                <a:cubicBezTo>
                  <a:pt x="214" y="5"/>
                  <a:pt x="209" y="0"/>
                  <a:pt x="204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5" y="0"/>
                  <a:pt x="0" y="5"/>
                  <a:pt x="0" y="10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42"/>
                  <a:pt x="5" y="147"/>
                  <a:pt x="10" y="147"/>
                </a:cubicBezTo>
                <a:cubicBezTo>
                  <a:pt x="204" y="147"/>
                  <a:pt x="204" y="147"/>
                  <a:pt x="204" y="147"/>
                </a:cubicBezTo>
                <a:cubicBezTo>
                  <a:pt x="209" y="147"/>
                  <a:pt x="214" y="142"/>
                  <a:pt x="214" y="137"/>
                </a:cubicBezTo>
                <a:cubicBezTo>
                  <a:pt x="214" y="137"/>
                  <a:pt x="214" y="137"/>
                  <a:pt x="214" y="137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9" y="137"/>
                  <a:pt x="231" y="135"/>
                  <a:pt x="231" y="133"/>
                </a:cubicBezTo>
                <a:cubicBezTo>
                  <a:pt x="231" y="132"/>
                  <a:pt x="231" y="132"/>
                  <a:pt x="231" y="131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11"/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4" name="Rectangle 10"/>
          <p:cNvSpPr>
            <a:spLocks noChangeArrowheads="1"/>
          </p:cNvSpPr>
          <p:nvPr/>
        </p:nvSpPr>
        <p:spPr bwMode="auto">
          <a:xfrm>
            <a:off x="639667" y="1270397"/>
            <a:ext cx="7637766" cy="474940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11"/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9324975" y="1282612"/>
            <a:ext cx="2495550" cy="3220562"/>
          </a:xfrm>
          <a:prstGeom prst="rect">
            <a:avLst/>
          </a:prstGeom>
          <a:solidFill>
            <a:srgbClr val="666666"/>
          </a:solidFill>
          <a:ln w="3175">
            <a:noFill/>
          </a:ln>
        </p:spPr>
        <p:txBody>
          <a:bodyPr rtlCol="0" anchor="t">
            <a:noAutofit/>
          </a:bodyPr>
          <a:lstStyle/>
          <a:p>
            <a:pPr marL="137160" indent="-13716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marL="137160" indent="-13716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The number of interactions fed to bot system</a:t>
            </a:r>
          </a:p>
          <a:p>
            <a:pPr marL="137160" indent="-13716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As the POC progresses, LUIS will continue to show improvement in learning and interpretation</a:t>
            </a:r>
          </a:p>
          <a:p>
            <a:pPr marL="137160" indent="-13716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Sentiment data can provide additional opportunities to consider</a:t>
            </a:r>
          </a:p>
          <a:p>
            <a:pPr marL="137160" indent="-13716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Automatic logging of activities will enable greater visibility into procurement processes, allowing for development of more efficient processe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9324975" y="987338"/>
            <a:ext cx="2495550" cy="295274"/>
          </a:xfrm>
          <a:prstGeom prst="rect">
            <a:avLst/>
          </a:prstGeom>
          <a:solidFill>
            <a:srgbClr val="999999"/>
          </a:solidFill>
          <a:ln w="3175">
            <a:noFill/>
          </a:ln>
        </p:spPr>
        <p:txBody>
          <a:bodyPr tIns="45720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nsideration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86650" y="1317950"/>
            <a:ext cx="7543800" cy="4654296"/>
          </a:xfrm>
          <a:prstGeom prst="rect">
            <a:avLst/>
          </a:prstGeom>
          <a:noFill/>
          <a:ln w="3175">
            <a:noFill/>
          </a:ln>
        </p:spPr>
        <p:txBody>
          <a:bodyPr lIns="91440" tIns="27432" rIns="91440" bIns="27432" rtlCol="0" anchor="t">
            <a:no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 Management and Performance Interface</a:t>
            </a:r>
          </a:p>
        </p:txBody>
      </p:sp>
      <p:pic>
        <p:nvPicPr>
          <p:cNvPr id="45" name="Picture 1299" descr="Image result for Bayer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19" y="1308964"/>
            <a:ext cx="346131" cy="351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/>
          <p:cNvSpPr/>
          <p:nvPr/>
        </p:nvSpPr>
        <p:spPr>
          <a:xfrm>
            <a:off x="686651" y="1683216"/>
            <a:ext cx="3737511" cy="363793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txBody>
          <a:bodyPr tIns="4572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curement Process Performanc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4492940" y="1683216"/>
            <a:ext cx="3737510" cy="363793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txBody>
          <a:bodyPr tIns="4572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t Performanc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86650" y="2140889"/>
            <a:ext cx="1838960" cy="1883699"/>
          </a:xfrm>
          <a:prstGeom prst="rect">
            <a:avLst/>
          </a:prstGeom>
          <a:solidFill>
            <a:srgbClr val="666666"/>
          </a:solidFill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2585199" y="2140889"/>
            <a:ext cx="1838960" cy="18836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schemeClr val="bg1">
                <a:lumMod val="75000"/>
              </a:schemeClr>
            </a:innerShdw>
          </a:effectLst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86650" y="4088476"/>
            <a:ext cx="1838960" cy="18836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schemeClr val="bg1">
                <a:lumMod val="75000"/>
              </a:schemeClr>
            </a:innerShdw>
          </a:effectLst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585199" y="4088476"/>
            <a:ext cx="1838960" cy="1883699"/>
          </a:xfrm>
          <a:prstGeom prst="rect">
            <a:avLst/>
          </a:prstGeom>
          <a:solidFill>
            <a:srgbClr val="666666"/>
          </a:solidFill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68" name="Chart 67"/>
          <p:cNvGraphicFramePr/>
          <p:nvPr>
            <p:extLst>
              <p:ext uri="{D42A27DB-BD31-4B8C-83A1-F6EECF244321}">
                <p14:modId xmlns:p14="http://schemas.microsoft.com/office/powerpoint/2010/main" val="1319553095"/>
              </p:ext>
            </p:extLst>
          </p:nvPr>
        </p:nvGraphicFramePr>
        <p:xfrm>
          <a:off x="695325" y="2187434"/>
          <a:ext cx="1779012" cy="1790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9" name="Chart 68"/>
          <p:cNvGraphicFramePr/>
          <p:nvPr>
            <p:extLst>
              <p:ext uri="{D42A27DB-BD31-4B8C-83A1-F6EECF244321}">
                <p14:modId xmlns:p14="http://schemas.microsoft.com/office/powerpoint/2010/main" val="2840024517"/>
              </p:ext>
            </p:extLst>
          </p:nvPr>
        </p:nvGraphicFramePr>
        <p:xfrm>
          <a:off x="2625266" y="2185072"/>
          <a:ext cx="1758828" cy="1805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0" name="Chart 69"/>
          <p:cNvGraphicFramePr/>
          <p:nvPr>
            <p:extLst>
              <p:ext uri="{D42A27DB-BD31-4B8C-83A1-F6EECF244321}">
                <p14:modId xmlns:p14="http://schemas.microsoft.com/office/powerpoint/2010/main" val="541418510"/>
              </p:ext>
            </p:extLst>
          </p:nvPr>
        </p:nvGraphicFramePr>
        <p:xfrm>
          <a:off x="709613" y="4129167"/>
          <a:ext cx="1764724" cy="1817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71" name="Chart 70"/>
          <p:cNvGraphicFramePr/>
          <p:nvPr>
            <p:extLst>
              <p:ext uri="{D42A27DB-BD31-4B8C-83A1-F6EECF244321}">
                <p14:modId xmlns:p14="http://schemas.microsoft.com/office/powerpoint/2010/main" val="2063142771"/>
              </p:ext>
            </p:extLst>
          </p:nvPr>
        </p:nvGraphicFramePr>
        <p:xfrm>
          <a:off x="2601052" y="4129166"/>
          <a:ext cx="1783041" cy="1817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2" name="Rectangle 71"/>
          <p:cNvSpPr/>
          <p:nvPr/>
        </p:nvSpPr>
        <p:spPr>
          <a:xfrm>
            <a:off x="2899462" y="4163272"/>
            <a:ext cx="1186223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defRPr sz="8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chemeClr val="bg1"/>
                </a:solidFill>
              </a:rPr>
              <a:t>Interrupted Bot Interactions</a:t>
            </a:r>
          </a:p>
        </p:txBody>
      </p:sp>
      <p:sp>
        <p:nvSpPr>
          <p:cNvPr id="73" name="Rectangle 72"/>
          <p:cNvSpPr/>
          <p:nvPr/>
        </p:nvSpPr>
        <p:spPr>
          <a:xfrm>
            <a:off x="4492940" y="2140889"/>
            <a:ext cx="1838960" cy="1883699"/>
          </a:xfrm>
          <a:prstGeom prst="rect">
            <a:avLst/>
          </a:prstGeom>
          <a:solidFill>
            <a:srgbClr val="666666"/>
          </a:solidFill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4492940" y="4088476"/>
            <a:ext cx="1838960" cy="18836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schemeClr val="bg1">
                <a:lumMod val="75000"/>
              </a:schemeClr>
            </a:innerShdw>
          </a:effectLst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391490" y="4088476"/>
            <a:ext cx="1838960" cy="1883699"/>
          </a:xfrm>
          <a:prstGeom prst="rect">
            <a:avLst/>
          </a:prstGeom>
          <a:solidFill>
            <a:srgbClr val="666666"/>
          </a:solidFill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76" name="Chart 7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3826447"/>
              </p:ext>
            </p:extLst>
          </p:nvPr>
        </p:nvGraphicFramePr>
        <p:xfrm>
          <a:off x="4518825" y="2187434"/>
          <a:ext cx="1787190" cy="1790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77" name="Chart 76"/>
          <p:cNvGraphicFramePr/>
          <p:nvPr>
            <p:extLst>
              <p:ext uri="{D42A27DB-BD31-4B8C-83A1-F6EECF244321}">
                <p14:modId xmlns:p14="http://schemas.microsoft.com/office/powerpoint/2010/main" val="3630137726"/>
              </p:ext>
            </p:extLst>
          </p:nvPr>
        </p:nvGraphicFramePr>
        <p:xfrm>
          <a:off x="6416723" y="4129166"/>
          <a:ext cx="1788494" cy="1817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78" name="Chart 7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9371716"/>
              </p:ext>
            </p:extLst>
          </p:nvPr>
        </p:nvGraphicFramePr>
        <p:xfrm>
          <a:off x="4518825" y="4118468"/>
          <a:ext cx="1787190" cy="1828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9" name="Rectangle 78"/>
          <p:cNvSpPr/>
          <p:nvPr/>
        </p:nvSpPr>
        <p:spPr>
          <a:xfrm>
            <a:off x="6793509" y="4163272"/>
            <a:ext cx="1098058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>
              <a:defRPr sz="800" b="1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chemeClr val="bg1"/>
                </a:solidFill>
              </a:rPr>
              <a:t>Average Daily Bot Querie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391490" y="2140890"/>
            <a:ext cx="1838960" cy="18836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114300">
              <a:schemeClr val="bg1">
                <a:lumMod val="75000"/>
              </a:schemeClr>
            </a:innerShdw>
          </a:effectLst>
        </p:spPr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81" name="Chart 80"/>
          <p:cNvGraphicFramePr/>
          <p:nvPr>
            <p:extLst>
              <p:ext uri="{D42A27DB-BD31-4B8C-83A1-F6EECF244321}">
                <p14:modId xmlns:p14="http://schemas.microsoft.com/office/powerpoint/2010/main" val="2457637387"/>
              </p:ext>
            </p:extLst>
          </p:nvPr>
        </p:nvGraphicFramePr>
        <p:xfrm>
          <a:off x="6414642" y="2175219"/>
          <a:ext cx="1792657" cy="1815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21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4910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194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92" name="think-cell Slide" r:id="rId19" imgW="378" imgH="379" progId="TCLayout.ActiveDocument.1">
                  <p:embed/>
                </p:oleObj>
              </mc:Choice>
              <mc:Fallback>
                <p:oleObj name="think-cell Slide" r:id="rId19" imgW="378" imgH="379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701731"/>
          </a:xfrm>
        </p:spPr>
        <p:txBody>
          <a:bodyPr/>
          <a:lstStyle/>
          <a:p>
            <a:r>
              <a:rPr lang="en-US" dirty="0"/>
              <a:t>Bot Features Overview</a:t>
            </a:r>
          </a:p>
        </p:txBody>
      </p:sp>
      <p:sp>
        <p:nvSpPr>
          <p:cNvPr id="13" name="Rectangle 12"/>
          <p:cNvSpPr/>
          <p:nvPr>
            <p:custDataLst>
              <p:tags r:id="rId3"/>
            </p:custDataLst>
          </p:nvPr>
        </p:nvSpPr>
        <p:spPr>
          <a:xfrm>
            <a:off x="590647" y="2827516"/>
            <a:ext cx="5103639" cy="958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lexible LUIS framework to support improved natural language understanding over time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ily programmable business logic design to allow for modifications and improvemen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90647" y="2427406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Self-improving/Learning</a:t>
            </a:r>
          </a:p>
        </p:txBody>
      </p:sp>
      <p:sp>
        <p:nvSpPr>
          <p:cNvPr id="15" name="Oval 14"/>
          <p:cNvSpPr/>
          <p:nvPr>
            <p:custDataLst>
              <p:tags r:id="rId4"/>
            </p:custDataLst>
          </p:nvPr>
        </p:nvSpPr>
        <p:spPr>
          <a:xfrm>
            <a:off x="366807" y="2421721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9" name="Rectangle 18"/>
          <p:cNvSpPr/>
          <p:nvPr>
            <p:custDataLst>
              <p:tags r:id="rId5"/>
            </p:custDataLst>
          </p:nvPr>
        </p:nvSpPr>
        <p:spPr>
          <a:xfrm>
            <a:off x="590647" y="4270160"/>
            <a:ext cx="5103639" cy="8547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tivity Logging: Capture all activity user, client IP, alias, Company, etc.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 access, locations, integrations 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 ML refreshes and custom module deployment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90647" y="3870050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Admin</a:t>
            </a:r>
          </a:p>
        </p:txBody>
      </p:sp>
      <p:sp>
        <p:nvSpPr>
          <p:cNvPr id="21" name="Oval 20"/>
          <p:cNvSpPr/>
          <p:nvPr>
            <p:custDataLst>
              <p:tags r:id="rId6"/>
            </p:custDataLst>
          </p:nvPr>
        </p:nvSpPr>
        <p:spPr>
          <a:xfrm>
            <a:off x="366807" y="3864365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4" name="Rectangle 3"/>
          <p:cNvSpPr/>
          <p:nvPr>
            <p:custDataLst>
              <p:tags r:id="rId7"/>
            </p:custDataLst>
          </p:nvPr>
        </p:nvSpPr>
        <p:spPr>
          <a:xfrm>
            <a:off x="590647" y="1477165"/>
            <a:ext cx="5103639" cy="8720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ety in the chat interfaces (standalone web client, Skype)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ousel-based UI to display options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derstand intent and conversation context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tural, human-like interactivity</a:t>
            </a:r>
          </a:p>
        </p:txBody>
      </p:sp>
      <p:sp>
        <p:nvSpPr>
          <p:cNvPr id="8" name="Rectangle 7"/>
          <p:cNvSpPr/>
          <p:nvPr/>
        </p:nvSpPr>
        <p:spPr>
          <a:xfrm>
            <a:off x="590647" y="1077055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hat/IM Interface</a:t>
            </a:r>
          </a:p>
        </p:txBody>
      </p:sp>
      <p:sp>
        <p:nvSpPr>
          <p:cNvPr id="9" name="Oval 8"/>
          <p:cNvSpPr/>
          <p:nvPr>
            <p:custDataLst>
              <p:tags r:id="rId8"/>
            </p:custDataLst>
          </p:nvPr>
        </p:nvSpPr>
        <p:spPr>
          <a:xfrm>
            <a:off x="366807" y="1071370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6" name="Rectangle 15"/>
          <p:cNvSpPr/>
          <p:nvPr>
            <p:custDataLst>
              <p:tags r:id="rId9"/>
            </p:custDataLst>
          </p:nvPr>
        </p:nvSpPr>
        <p:spPr>
          <a:xfrm>
            <a:off x="6716886" y="2827516"/>
            <a:ext cx="5103639" cy="9587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cure capture of text and voice transmission to the Azure Cloud (secure end-points)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ion to Azure Active Directory and User Access Rights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716887" y="2427406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Security &amp; Data Integrity</a:t>
            </a:r>
          </a:p>
        </p:txBody>
      </p:sp>
      <p:sp>
        <p:nvSpPr>
          <p:cNvPr id="18" name="Oval 17"/>
          <p:cNvSpPr/>
          <p:nvPr>
            <p:custDataLst>
              <p:tags r:id="rId10"/>
            </p:custDataLst>
          </p:nvPr>
        </p:nvSpPr>
        <p:spPr>
          <a:xfrm>
            <a:off x="6496044" y="2421721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22" name="Rectangle 21"/>
          <p:cNvSpPr/>
          <p:nvPr>
            <p:custDataLst>
              <p:tags r:id="rId11"/>
            </p:custDataLst>
          </p:nvPr>
        </p:nvSpPr>
        <p:spPr>
          <a:xfrm>
            <a:off x="6716886" y="4270160"/>
            <a:ext cx="5103639" cy="8547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e the most frequently asked topics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e graphs of how users traverse topics 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e feedback and usefulness scores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ra: Azure Consumption and Mgmt. Dashboard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716887" y="3870050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Visualization</a:t>
            </a:r>
          </a:p>
        </p:txBody>
      </p:sp>
      <p:sp>
        <p:nvSpPr>
          <p:cNvPr id="24" name="Oval 23"/>
          <p:cNvSpPr/>
          <p:nvPr>
            <p:custDataLst>
              <p:tags r:id="rId12"/>
            </p:custDataLst>
          </p:nvPr>
        </p:nvSpPr>
        <p:spPr>
          <a:xfrm>
            <a:off x="6496044" y="3864365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F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6948707" y="4396304"/>
            <a:ext cx="421764" cy="584138"/>
            <a:chOff x="1371600" y="3200400"/>
            <a:chExt cx="1518158" cy="2102639"/>
          </a:xfrm>
        </p:grpSpPr>
        <p:sp>
          <p:nvSpPr>
            <p:cNvPr id="79" name="Rectangle 24"/>
            <p:cNvSpPr/>
            <p:nvPr/>
          </p:nvSpPr>
          <p:spPr>
            <a:xfrm>
              <a:off x="1371600" y="3200400"/>
              <a:ext cx="1518158" cy="2102639"/>
            </a:xfrm>
            <a:custGeom>
              <a:avLst/>
              <a:gdLst/>
              <a:ahLst/>
              <a:cxnLst/>
              <a:rect l="l" t="t" r="r" b="b"/>
              <a:pathLst>
                <a:path w="1518158" h="2102639">
                  <a:moveTo>
                    <a:pt x="664962" y="48"/>
                  </a:moveTo>
                  <a:cubicBezTo>
                    <a:pt x="990735" y="4734"/>
                    <a:pt x="1250103" y="195355"/>
                    <a:pt x="1311820" y="389100"/>
                  </a:cubicBezTo>
                  <a:cubicBezTo>
                    <a:pt x="1373537" y="582844"/>
                    <a:pt x="1310258" y="419568"/>
                    <a:pt x="1400880" y="656280"/>
                  </a:cubicBezTo>
                  <a:cubicBezTo>
                    <a:pt x="1411818" y="757059"/>
                    <a:pt x="1339163" y="742996"/>
                    <a:pt x="1358694" y="815651"/>
                  </a:cubicBezTo>
                  <a:cubicBezTo>
                    <a:pt x="1378225" y="888305"/>
                    <a:pt x="1514158" y="1033614"/>
                    <a:pt x="1518064" y="1092206"/>
                  </a:cubicBezTo>
                  <a:cubicBezTo>
                    <a:pt x="1521971" y="1150798"/>
                    <a:pt x="1404005" y="1135955"/>
                    <a:pt x="1382130" y="1167204"/>
                  </a:cubicBezTo>
                  <a:cubicBezTo>
                    <a:pt x="1360256" y="1198453"/>
                    <a:pt x="1390724" y="1255483"/>
                    <a:pt x="1386818" y="1279701"/>
                  </a:cubicBezTo>
                  <a:cubicBezTo>
                    <a:pt x="1382912" y="1303919"/>
                    <a:pt x="1361038" y="1303137"/>
                    <a:pt x="1358694" y="1312512"/>
                  </a:cubicBezTo>
                  <a:cubicBezTo>
                    <a:pt x="1356350" y="1321887"/>
                    <a:pt x="1382912" y="1320325"/>
                    <a:pt x="1372756" y="1335949"/>
                  </a:cubicBezTo>
                  <a:cubicBezTo>
                    <a:pt x="1362600" y="1351574"/>
                    <a:pt x="1313382" y="1359387"/>
                    <a:pt x="1297758" y="1406260"/>
                  </a:cubicBezTo>
                  <a:cubicBezTo>
                    <a:pt x="1282134" y="1453134"/>
                    <a:pt x="1409474" y="1567974"/>
                    <a:pt x="1279008" y="1617192"/>
                  </a:cubicBezTo>
                  <a:cubicBezTo>
                    <a:pt x="1148544" y="1666410"/>
                    <a:pt x="978235" y="1565631"/>
                    <a:pt x="936830" y="1645316"/>
                  </a:cubicBezTo>
                  <a:cubicBezTo>
                    <a:pt x="895425" y="1725002"/>
                    <a:pt x="843864" y="1864060"/>
                    <a:pt x="1030577" y="2095304"/>
                  </a:cubicBezTo>
                  <a:cubicBezTo>
                    <a:pt x="762616" y="2092179"/>
                    <a:pt x="244660" y="2113272"/>
                    <a:pt x="18105" y="2095304"/>
                  </a:cubicBezTo>
                  <a:cubicBezTo>
                    <a:pt x="72790" y="1927340"/>
                    <a:pt x="250130" y="1765625"/>
                    <a:pt x="247786" y="1537506"/>
                  </a:cubicBezTo>
                  <a:cubicBezTo>
                    <a:pt x="245442" y="1309387"/>
                    <a:pt x="51697" y="1118768"/>
                    <a:pt x="4042" y="726591"/>
                  </a:cubicBezTo>
                  <a:cubicBezTo>
                    <a:pt x="-20283" y="526408"/>
                    <a:pt x="67548" y="340065"/>
                    <a:pt x="203379" y="206900"/>
                  </a:cubicBezTo>
                  <a:lnTo>
                    <a:pt x="203379" y="206708"/>
                  </a:lnTo>
                  <a:lnTo>
                    <a:pt x="203605" y="206708"/>
                  </a:lnTo>
                  <a:cubicBezTo>
                    <a:pt x="332512" y="77755"/>
                    <a:pt x="505564" y="-2246"/>
                    <a:pt x="664962" y="4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reeform 18"/>
            <p:cNvSpPr>
              <a:spLocks noEditPoints="1"/>
            </p:cNvSpPr>
            <p:nvPr/>
          </p:nvSpPr>
          <p:spPr bwMode="black">
            <a:xfrm rot="17995606">
              <a:off x="1586725" y="3400377"/>
              <a:ext cx="699166" cy="549008"/>
            </a:xfrm>
            <a:custGeom>
              <a:avLst/>
              <a:gdLst>
                <a:gd name="T0" fmla="*/ 1304 w 1423"/>
                <a:gd name="T1" fmla="*/ 301 h 1114"/>
                <a:gd name="T2" fmla="*/ 1302 w 1423"/>
                <a:gd name="T3" fmla="*/ 297 h 1114"/>
                <a:gd name="T4" fmla="*/ 719 w 1423"/>
                <a:gd name="T5" fmla="*/ 113 h 1114"/>
                <a:gd name="T6" fmla="*/ 496 w 1423"/>
                <a:gd name="T7" fmla="*/ 416 h 1114"/>
                <a:gd name="T8" fmla="*/ 441 w 1423"/>
                <a:gd name="T9" fmla="*/ 482 h 1114"/>
                <a:gd name="T10" fmla="*/ 375 w 1423"/>
                <a:gd name="T11" fmla="*/ 536 h 1114"/>
                <a:gd name="T12" fmla="*/ 290 w 1423"/>
                <a:gd name="T13" fmla="*/ 648 h 1114"/>
                <a:gd name="T14" fmla="*/ 470 w 1423"/>
                <a:gd name="T15" fmla="*/ 973 h 1114"/>
                <a:gd name="T16" fmla="*/ 610 w 1423"/>
                <a:gd name="T17" fmla="*/ 960 h 1114"/>
                <a:gd name="T18" fmla="*/ 775 w 1423"/>
                <a:gd name="T19" fmla="*/ 921 h 1114"/>
                <a:gd name="T20" fmla="*/ 932 w 1423"/>
                <a:gd name="T21" fmla="*/ 927 h 1114"/>
                <a:gd name="T22" fmla="*/ 1151 w 1423"/>
                <a:gd name="T23" fmla="*/ 893 h 1114"/>
                <a:gd name="T24" fmla="*/ 1304 w 1423"/>
                <a:gd name="T25" fmla="*/ 301 h 1114"/>
                <a:gd name="T26" fmla="*/ 1024 w 1423"/>
                <a:gd name="T27" fmla="*/ 311 h 1114"/>
                <a:gd name="T28" fmla="*/ 1024 w 1423"/>
                <a:gd name="T29" fmla="*/ 311 h 1114"/>
                <a:gd name="T30" fmla="*/ 873 w 1423"/>
                <a:gd name="T31" fmla="*/ 299 h 1114"/>
                <a:gd name="T32" fmla="*/ 873 w 1423"/>
                <a:gd name="T33" fmla="*/ 299 h 1114"/>
                <a:gd name="T34" fmla="*/ 799 w 1423"/>
                <a:gd name="T35" fmla="*/ 278 h 1114"/>
                <a:gd name="T36" fmla="*/ 821 w 1423"/>
                <a:gd name="T37" fmla="*/ 203 h 1114"/>
                <a:gd name="T38" fmla="*/ 828 w 1423"/>
                <a:gd name="T39" fmla="*/ 200 h 1114"/>
                <a:gd name="T40" fmla="*/ 1101 w 1423"/>
                <a:gd name="T41" fmla="*/ 234 h 1114"/>
                <a:gd name="T42" fmla="*/ 1108 w 1423"/>
                <a:gd name="T43" fmla="*/ 244 h 1114"/>
                <a:gd name="T44" fmla="*/ 1087 w 1423"/>
                <a:gd name="T45" fmla="*/ 318 h 1114"/>
                <a:gd name="T46" fmla="*/ 1024 w 1423"/>
                <a:gd name="T47" fmla="*/ 311 h 1114"/>
                <a:gd name="T48" fmla="*/ 14 w 1423"/>
                <a:gd name="T49" fmla="*/ 967 h 1114"/>
                <a:gd name="T50" fmla="*/ 53 w 1423"/>
                <a:gd name="T51" fmla="*/ 1037 h 1114"/>
                <a:gd name="T52" fmla="*/ 115 w 1423"/>
                <a:gd name="T53" fmla="*/ 1064 h 1114"/>
                <a:gd name="T54" fmla="*/ 24 w 1423"/>
                <a:gd name="T55" fmla="*/ 900 h 1114"/>
                <a:gd name="T56" fmla="*/ 14 w 1423"/>
                <a:gd name="T57" fmla="*/ 967 h 1114"/>
                <a:gd name="T58" fmla="*/ 400 w 1423"/>
                <a:gd name="T59" fmla="*/ 959 h 1114"/>
                <a:gd name="T60" fmla="*/ 265 w 1423"/>
                <a:gd name="T61" fmla="*/ 714 h 1114"/>
                <a:gd name="T62" fmla="*/ 190 w 1423"/>
                <a:gd name="T63" fmla="*/ 686 h 1114"/>
                <a:gd name="T64" fmla="*/ 175 w 1423"/>
                <a:gd name="T65" fmla="*/ 764 h 1114"/>
                <a:gd name="T66" fmla="*/ 310 w 1423"/>
                <a:gd name="T67" fmla="*/ 1008 h 1114"/>
                <a:gd name="T68" fmla="*/ 385 w 1423"/>
                <a:gd name="T69" fmla="*/ 1037 h 1114"/>
                <a:gd name="T70" fmla="*/ 400 w 1423"/>
                <a:gd name="T71" fmla="*/ 959 h 1114"/>
                <a:gd name="T72" fmla="*/ 266 w 1423"/>
                <a:gd name="T73" fmla="*/ 1026 h 1114"/>
                <a:gd name="T74" fmla="*/ 136 w 1423"/>
                <a:gd name="T75" fmla="*/ 792 h 1114"/>
                <a:gd name="T76" fmla="*/ 65 w 1423"/>
                <a:gd name="T77" fmla="*/ 764 h 1114"/>
                <a:gd name="T78" fmla="*/ 50 w 1423"/>
                <a:gd name="T79" fmla="*/ 840 h 1114"/>
                <a:gd name="T80" fmla="*/ 180 w 1423"/>
                <a:gd name="T81" fmla="*/ 1074 h 1114"/>
                <a:gd name="T82" fmla="*/ 251 w 1423"/>
                <a:gd name="T83" fmla="*/ 1101 h 1114"/>
                <a:gd name="T84" fmla="*/ 266 w 1423"/>
                <a:gd name="T85" fmla="*/ 1026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3" h="1114">
                  <a:moveTo>
                    <a:pt x="1304" y="301"/>
                  </a:moveTo>
                  <a:cubicBezTo>
                    <a:pt x="1303" y="298"/>
                    <a:pt x="1304" y="300"/>
                    <a:pt x="1302" y="297"/>
                  </a:cubicBezTo>
                  <a:cubicBezTo>
                    <a:pt x="1184" y="83"/>
                    <a:pt x="922" y="0"/>
                    <a:pt x="719" y="113"/>
                  </a:cubicBezTo>
                  <a:cubicBezTo>
                    <a:pt x="602" y="177"/>
                    <a:pt x="570" y="311"/>
                    <a:pt x="496" y="416"/>
                  </a:cubicBezTo>
                  <a:cubicBezTo>
                    <a:pt x="476" y="444"/>
                    <a:pt x="458" y="465"/>
                    <a:pt x="441" y="482"/>
                  </a:cubicBezTo>
                  <a:cubicBezTo>
                    <a:pt x="418" y="504"/>
                    <a:pt x="397" y="520"/>
                    <a:pt x="375" y="536"/>
                  </a:cubicBezTo>
                  <a:cubicBezTo>
                    <a:pt x="334" y="566"/>
                    <a:pt x="296" y="593"/>
                    <a:pt x="290" y="648"/>
                  </a:cubicBezTo>
                  <a:cubicBezTo>
                    <a:pt x="470" y="973"/>
                    <a:pt x="470" y="973"/>
                    <a:pt x="470" y="973"/>
                  </a:cubicBezTo>
                  <a:cubicBezTo>
                    <a:pt x="519" y="997"/>
                    <a:pt x="563" y="978"/>
                    <a:pt x="610" y="960"/>
                  </a:cubicBezTo>
                  <a:cubicBezTo>
                    <a:pt x="654" y="943"/>
                    <a:pt x="697" y="925"/>
                    <a:pt x="775" y="921"/>
                  </a:cubicBezTo>
                  <a:cubicBezTo>
                    <a:pt x="827" y="918"/>
                    <a:pt x="880" y="924"/>
                    <a:pt x="932" y="927"/>
                  </a:cubicBezTo>
                  <a:cubicBezTo>
                    <a:pt x="1008" y="932"/>
                    <a:pt x="1082" y="931"/>
                    <a:pt x="1151" y="893"/>
                  </a:cubicBezTo>
                  <a:cubicBezTo>
                    <a:pt x="1354" y="780"/>
                    <a:pt x="1423" y="515"/>
                    <a:pt x="1304" y="301"/>
                  </a:cubicBezTo>
                  <a:close/>
                  <a:moveTo>
                    <a:pt x="1024" y="311"/>
                  </a:moveTo>
                  <a:cubicBezTo>
                    <a:pt x="1024" y="311"/>
                    <a:pt x="1024" y="311"/>
                    <a:pt x="1024" y="311"/>
                  </a:cubicBezTo>
                  <a:cubicBezTo>
                    <a:pt x="983" y="270"/>
                    <a:pt x="917" y="279"/>
                    <a:pt x="873" y="299"/>
                  </a:cubicBezTo>
                  <a:cubicBezTo>
                    <a:pt x="873" y="299"/>
                    <a:pt x="873" y="299"/>
                    <a:pt x="873" y="299"/>
                  </a:cubicBezTo>
                  <a:cubicBezTo>
                    <a:pt x="847" y="313"/>
                    <a:pt x="814" y="304"/>
                    <a:pt x="799" y="278"/>
                  </a:cubicBezTo>
                  <a:cubicBezTo>
                    <a:pt x="785" y="251"/>
                    <a:pt x="794" y="218"/>
                    <a:pt x="821" y="203"/>
                  </a:cubicBezTo>
                  <a:cubicBezTo>
                    <a:pt x="823" y="202"/>
                    <a:pt x="828" y="200"/>
                    <a:pt x="828" y="200"/>
                  </a:cubicBezTo>
                  <a:cubicBezTo>
                    <a:pt x="927" y="155"/>
                    <a:pt x="1035" y="168"/>
                    <a:pt x="1101" y="234"/>
                  </a:cubicBezTo>
                  <a:cubicBezTo>
                    <a:pt x="1101" y="234"/>
                    <a:pt x="1106" y="240"/>
                    <a:pt x="1108" y="244"/>
                  </a:cubicBezTo>
                  <a:cubicBezTo>
                    <a:pt x="1122" y="270"/>
                    <a:pt x="1113" y="303"/>
                    <a:pt x="1087" y="318"/>
                  </a:cubicBezTo>
                  <a:cubicBezTo>
                    <a:pt x="1066" y="329"/>
                    <a:pt x="1041" y="326"/>
                    <a:pt x="1024" y="311"/>
                  </a:cubicBezTo>
                  <a:close/>
                  <a:moveTo>
                    <a:pt x="14" y="967"/>
                  </a:moveTo>
                  <a:cubicBezTo>
                    <a:pt x="53" y="1037"/>
                    <a:pt x="53" y="1037"/>
                    <a:pt x="53" y="1037"/>
                  </a:cubicBezTo>
                  <a:cubicBezTo>
                    <a:pt x="67" y="1062"/>
                    <a:pt x="94" y="1074"/>
                    <a:pt x="115" y="1064"/>
                  </a:cubicBezTo>
                  <a:cubicBezTo>
                    <a:pt x="24" y="900"/>
                    <a:pt x="24" y="900"/>
                    <a:pt x="24" y="900"/>
                  </a:cubicBezTo>
                  <a:cubicBezTo>
                    <a:pt x="5" y="912"/>
                    <a:pt x="0" y="941"/>
                    <a:pt x="14" y="967"/>
                  </a:cubicBezTo>
                  <a:close/>
                  <a:moveTo>
                    <a:pt x="400" y="959"/>
                  </a:moveTo>
                  <a:cubicBezTo>
                    <a:pt x="265" y="714"/>
                    <a:pt x="265" y="714"/>
                    <a:pt x="265" y="714"/>
                  </a:cubicBezTo>
                  <a:cubicBezTo>
                    <a:pt x="248" y="685"/>
                    <a:pt x="215" y="672"/>
                    <a:pt x="190" y="686"/>
                  </a:cubicBezTo>
                  <a:cubicBezTo>
                    <a:pt x="166" y="699"/>
                    <a:pt x="159" y="734"/>
                    <a:pt x="175" y="764"/>
                  </a:cubicBezTo>
                  <a:cubicBezTo>
                    <a:pt x="310" y="1008"/>
                    <a:pt x="310" y="1008"/>
                    <a:pt x="310" y="1008"/>
                  </a:cubicBezTo>
                  <a:cubicBezTo>
                    <a:pt x="327" y="1038"/>
                    <a:pt x="360" y="1051"/>
                    <a:pt x="385" y="1037"/>
                  </a:cubicBezTo>
                  <a:cubicBezTo>
                    <a:pt x="410" y="1023"/>
                    <a:pt x="416" y="988"/>
                    <a:pt x="400" y="959"/>
                  </a:cubicBezTo>
                  <a:close/>
                  <a:moveTo>
                    <a:pt x="266" y="1026"/>
                  </a:moveTo>
                  <a:cubicBezTo>
                    <a:pt x="136" y="792"/>
                    <a:pt x="136" y="792"/>
                    <a:pt x="136" y="792"/>
                  </a:cubicBezTo>
                  <a:cubicBezTo>
                    <a:pt x="121" y="764"/>
                    <a:pt x="89" y="751"/>
                    <a:pt x="65" y="764"/>
                  </a:cubicBezTo>
                  <a:cubicBezTo>
                    <a:pt x="41" y="778"/>
                    <a:pt x="35" y="811"/>
                    <a:pt x="50" y="840"/>
                  </a:cubicBezTo>
                  <a:cubicBezTo>
                    <a:pt x="180" y="1074"/>
                    <a:pt x="180" y="1074"/>
                    <a:pt x="180" y="1074"/>
                  </a:cubicBezTo>
                  <a:cubicBezTo>
                    <a:pt x="196" y="1102"/>
                    <a:pt x="228" y="1114"/>
                    <a:pt x="251" y="1101"/>
                  </a:cubicBezTo>
                  <a:cubicBezTo>
                    <a:pt x="275" y="1088"/>
                    <a:pt x="282" y="1055"/>
                    <a:pt x="266" y="10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</a:endParaRPr>
            </a:p>
          </p:txBody>
        </p:sp>
      </p:grpSp>
      <p:sp>
        <p:nvSpPr>
          <p:cNvPr id="10" name="Rectangle 9"/>
          <p:cNvSpPr/>
          <p:nvPr>
            <p:custDataLst>
              <p:tags r:id="rId13"/>
            </p:custDataLst>
          </p:nvPr>
        </p:nvSpPr>
        <p:spPr>
          <a:xfrm>
            <a:off x="6716886" y="1477166"/>
            <a:ext cx="5103639" cy="866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ion to the Document Management Systems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ion to Ticket Management Systems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gration to ERP/CRM system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716887" y="1077055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Integration and Workflow</a:t>
            </a:r>
          </a:p>
        </p:txBody>
      </p:sp>
      <p:sp>
        <p:nvSpPr>
          <p:cNvPr id="12" name="Oval 11"/>
          <p:cNvSpPr/>
          <p:nvPr>
            <p:custDataLst>
              <p:tags r:id="rId14"/>
            </p:custDataLst>
          </p:nvPr>
        </p:nvSpPr>
        <p:spPr>
          <a:xfrm>
            <a:off x="6496044" y="1071370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5" name="Rectangle 24"/>
          <p:cNvSpPr/>
          <p:nvPr>
            <p:custDataLst>
              <p:tags r:id="rId15"/>
            </p:custDataLst>
          </p:nvPr>
        </p:nvSpPr>
        <p:spPr>
          <a:xfrm>
            <a:off x="3653766" y="5605003"/>
            <a:ext cx="5103639" cy="7211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22960" tIns="45720" rIns="91440" bIns="45720" rtlCol="0" anchor="t">
            <a:noAutofit/>
          </a:bodyPr>
          <a:lstStyle/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nds in Chat Bot performance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nds in Utilization, Frequency, Unique Users </a:t>
            </a:r>
          </a:p>
          <a:p>
            <a:pPr marL="137160" indent="-137160">
              <a:spcBef>
                <a:spcPts val="200"/>
              </a:spcBef>
              <a:buFont typeface="Arial" panose="020B0604020202020204" pitchFamily="34" charset="0"/>
              <a:buChar char="•"/>
              <a:tabLst>
                <a:tab pos="746125" algn="l"/>
              </a:tabLs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nds in User/Customer Sat metric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653767" y="5208758"/>
            <a:ext cx="5103638" cy="400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274320" rtlCol="0" anchor="ctr">
            <a:spAutoFit/>
          </a:bodyPr>
          <a:lstStyle/>
          <a:p>
            <a:pPr>
              <a:tabLst>
                <a:tab pos="746125" algn="l"/>
              </a:tabLst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Historical and Trending</a:t>
            </a:r>
          </a:p>
        </p:txBody>
      </p:sp>
      <p:sp>
        <p:nvSpPr>
          <p:cNvPr id="27" name="Oval 26"/>
          <p:cNvSpPr/>
          <p:nvPr>
            <p:custDataLst>
              <p:tags r:id="rId16"/>
            </p:custDataLst>
          </p:nvPr>
        </p:nvSpPr>
        <p:spPr>
          <a:xfrm>
            <a:off x="3429598" y="5203073"/>
            <a:ext cx="411480" cy="4114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6190718" y="1071370"/>
            <a:ext cx="0" cy="409314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5962118" y="2889343"/>
            <a:ext cx="457200" cy="457200"/>
            <a:chOff x="5872607" y="4634698"/>
            <a:chExt cx="457200" cy="457200"/>
          </a:xfrm>
        </p:grpSpPr>
        <p:sp>
          <p:nvSpPr>
            <p:cNvPr id="6" name="Oval 5"/>
            <p:cNvSpPr/>
            <p:nvPr/>
          </p:nvSpPr>
          <p:spPr>
            <a:xfrm>
              <a:off x="5872607" y="4634698"/>
              <a:ext cx="457200" cy="457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7" name="Plus 6"/>
            <p:cNvSpPr/>
            <p:nvPr/>
          </p:nvSpPr>
          <p:spPr>
            <a:xfrm>
              <a:off x="5937346" y="4698923"/>
              <a:ext cx="327724" cy="328752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64" name="Freeform: Shape 63"/>
          <p:cNvSpPr/>
          <p:nvPr/>
        </p:nvSpPr>
        <p:spPr>
          <a:xfrm>
            <a:off x="707335" y="1748226"/>
            <a:ext cx="533667" cy="382994"/>
          </a:xfrm>
          <a:custGeom>
            <a:avLst/>
            <a:gdLst>
              <a:gd name="connsiteX0" fmla="*/ 479822 w 659696"/>
              <a:gd name="connsiteY0" fmla="*/ 136707 h 473441"/>
              <a:gd name="connsiteX1" fmla="*/ 448865 w 659696"/>
              <a:gd name="connsiteY1" fmla="*/ 167664 h 473441"/>
              <a:gd name="connsiteX2" fmla="*/ 479822 w 659696"/>
              <a:gd name="connsiteY2" fmla="*/ 198621 h 473441"/>
              <a:gd name="connsiteX3" fmla="*/ 510779 w 659696"/>
              <a:gd name="connsiteY3" fmla="*/ 167664 h 473441"/>
              <a:gd name="connsiteX4" fmla="*/ 479822 w 659696"/>
              <a:gd name="connsiteY4" fmla="*/ 136707 h 473441"/>
              <a:gd name="connsiteX5" fmla="*/ 329849 w 659696"/>
              <a:gd name="connsiteY5" fmla="*/ 136707 h 473441"/>
              <a:gd name="connsiteX6" fmla="*/ 298892 w 659696"/>
              <a:gd name="connsiteY6" fmla="*/ 167664 h 473441"/>
              <a:gd name="connsiteX7" fmla="*/ 329849 w 659696"/>
              <a:gd name="connsiteY7" fmla="*/ 198621 h 473441"/>
              <a:gd name="connsiteX8" fmla="*/ 360806 w 659696"/>
              <a:gd name="connsiteY8" fmla="*/ 167664 h 473441"/>
              <a:gd name="connsiteX9" fmla="*/ 329849 w 659696"/>
              <a:gd name="connsiteY9" fmla="*/ 136707 h 473441"/>
              <a:gd name="connsiteX10" fmla="*/ 179875 w 659696"/>
              <a:gd name="connsiteY10" fmla="*/ 136707 h 473441"/>
              <a:gd name="connsiteX11" fmla="*/ 148918 w 659696"/>
              <a:gd name="connsiteY11" fmla="*/ 167664 h 473441"/>
              <a:gd name="connsiteX12" fmla="*/ 179875 w 659696"/>
              <a:gd name="connsiteY12" fmla="*/ 198621 h 473441"/>
              <a:gd name="connsiteX13" fmla="*/ 210832 w 659696"/>
              <a:gd name="connsiteY13" fmla="*/ 167664 h 473441"/>
              <a:gd name="connsiteX14" fmla="*/ 179875 w 659696"/>
              <a:gd name="connsiteY14" fmla="*/ 136707 h 473441"/>
              <a:gd name="connsiteX15" fmla="*/ 57874 w 659696"/>
              <a:gd name="connsiteY15" fmla="*/ 0 h 473441"/>
              <a:gd name="connsiteX16" fmla="*/ 601822 w 659696"/>
              <a:gd name="connsiteY16" fmla="*/ 0 h 473441"/>
              <a:gd name="connsiteX17" fmla="*/ 659696 w 659696"/>
              <a:gd name="connsiteY17" fmla="*/ 57874 h 473441"/>
              <a:gd name="connsiteX18" fmla="*/ 659696 w 659696"/>
              <a:gd name="connsiteY18" fmla="*/ 289361 h 473441"/>
              <a:gd name="connsiteX19" fmla="*/ 601822 w 659696"/>
              <a:gd name="connsiteY19" fmla="*/ 347235 h 473441"/>
              <a:gd name="connsiteX20" fmla="*/ 198223 w 659696"/>
              <a:gd name="connsiteY20" fmla="*/ 347235 h 473441"/>
              <a:gd name="connsiteX21" fmla="*/ 90577 w 659696"/>
              <a:gd name="connsiteY21" fmla="*/ 473441 h 473441"/>
              <a:gd name="connsiteX22" fmla="*/ 90577 w 659696"/>
              <a:gd name="connsiteY22" fmla="*/ 347235 h 473441"/>
              <a:gd name="connsiteX23" fmla="*/ 57874 w 659696"/>
              <a:gd name="connsiteY23" fmla="*/ 347235 h 473441"/>
              <a:gd name="connsiteX24" fmla="*/ 0 w 659696"/>
              <a:gd name="connsiteY24" fmla="*/ 289361 h 473441"/>
              <a:gd name="connsiteX25" fmla="*/ 0 w 659696"/>
              <a:gd name="connsiteY25" fmla="*/ 57874 h 473441"/>
              <a:gd name="connsiteX26" fmla="*/ 57874 w 659696"/>
              <a:gd name="connsiteY26" fmla="*/ 0 h 473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59696" h="473441">
                <a:moveTo>
                  <a:pt x="479822" y="136707"/>
                </a:moveTo>
                <a:cubicBezTo>
                  <a:pt x="462725" y="136707"/>
                  <a:pt x="448865" y="150567"/>
                  <a:pt x="448865" y="167664"/>
                </a:cubicBezTo>
                <a:cubicBezTo>
                  <a:pt x="448865" y="184761"/>
                  <a:pt x="462725" y="198621"/>
                  <a:pt x="479822" y="198621"/>
                </a:cubicBezTo>
                <a:cubicBezTo>
                  <a:pt x="496919" y="198621"/>
                  <a:pt x="510779" y="184761"/>
                  <a:pt x="510779" y="167664"/>
                </a:cubicBezTo>
                <a:cubicBezTo>
                  <a:pt x="510779" y="150567"/>
                  <a:pt x="496919" y="136707"/>
                  <a:pt x="479822" y="136707"/>
                </a:cubicBezTo>
                <a:close/>
                <a:moveTo>
                  <a:pt x="329849" y="136707"/>
                </a:moveTo>
                <a:cubicBezTo>
                  <a:pt x="312752" y="136707"/>
                  <a:pt x="298892" y="150567"/>
                  <a:pt x="298892" y="167664"/>
                </a:cubicBezTo>
                <a:cubicBezTo>
                  <a:pt x="298892" y="184761"/>
                  <a:pt x="312752" y="198621"/>
                  <a:pt x="329849" y="198621"/>
                </a:cubicBezTo>
                <a:cubicBezTo>
                  <a:pt x="346946" y="198621"/>
                  <a:pt x="360806" y="184761"/>
                  <a:pt x="360806" y="167664"/>
                </a:cubicBezTo>
                <a:cubicBezTo>
                  <a:pt x="360806" y="150567"/>
                  <a:pt x="346946" y="136707"/>
                  <a:pt x="329849" y="136707"/>
                </a:cubicBezTo>
                <a:close/>
                <a:moveTo>
                  <a:pt x="179875" y="136707"/>
                </a:moveTo>
                <a:cubicBezTo>
                  <a:pt x="162778" y="136707"/>
                  <a:pt x="148918" y="150567"/>
                  <a:pt x="148918" y="167664"/>
                </a:cubicBezTo>
                <a:cubicBezTo>
                  <a:pt x="148918" y="184761"/>
                  <a:pt x="162778" y="198621"/>
                  <a:pt x="179875" y="198621"/>
                </a:cubicBezTo>
                <a:cubicBezTo>
                  <a:pt x="196972" y="198621"/>
                  <a:pt x="210832" y="184761"/>
                  <a:pt x="210832" y="167664"/>
                </a:cubicBezTo>
                <a:cubicBezTo>
                  <a:pt x="210832" y="150567"/>
                  <a:pt x="196972" y="136707"/>
                  <a:pt x="179875" y="136707"/>
                </a:cubicBezTo>
                <a:close/>
                <a:moveTo>
                  <a:pt x="57874" y="0"/>
                </a:moveTo>
                <a:lnTo>
                  <a:pt x="601822" y="0"/>
                </a:lnTo>
                <a:cubicBezTo>
                  <a:pt x="633785" y="0"/>
                  <a:pt x="659696" y="25911"/>
                  <a:pt x="659696" y="57874"/>
                </a:cubicBezTo>
                <a:lnTo>
                  <a:pt x="659696" y="289361"/>
                </a:lnTo>
                <a:cubicBezTo>
                  <a:pt x="659696" y="321324"/>
                  <a:pt x="633785" y="347235"/>
                  <a:pt x="601822" y="347235"/>
                </a:cubicBezTo>
                <a:lnTo>
                  <a:pt x="198223" y="347235"/>
                </a:lnTo>
                <a:lnTo>
                  <a:pt x="90577" y="473441"/>
                </a:lnTo>
                <a:lnTo>
                  <a:pt x="90577" y="347235"/>
                </a:lnTo>
                <a:lnTo>
                  <a:pt x="57874" y="347235"/>
                </a:lnTo>
                <a:cubicBezTo>
                  <a:pt x="25911" y="347235"/>
                  <a:pt x="0" y="321324"/>
                  <a:pt x="0" y="289361"/>
                </a:cubicBezTo>
                <a:lnTo>
                  <a:pt x="0" y="57874"/>
                </a:lnTo>
                <a:cubicBezTo>
                  <a:pt x="0" y="25911"/>
                  <a:pt x="25911" y="0"/>
                  <a:pt x="57874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65" name="Freeform 56"/>
          <p:cNvSpPr/>
          <p:nvPr/>
        </p:nvSpPr>
        <p:spPr>
          <a:xfrm>
            <a:off x="733438" y="2998173"/>
            <a:ext cx="565571" cy="568294"/>
          </a:xfrm>
          <a:custGeom>
            <a:avLst/>
            <a:gdLst>
              <a:gd name="connsiteX0" fmla="*/ 1730270 w 3800476"/>
              <a:gd name="connsiteY0" fmla="*/ 912193 h 3818778"/>
              <a:gd name="connsiteX1" fmla="*/ 1730270 w 3800476"/>
              <a:gd name="connsiteY1" fmla="*/ 915464 h 3818778"/>
              <a:gd name="connsiteX2" fmla="*/ 1730128 w 3800476"/>
              <a:gd name="connsiteY2" fmla="*/ 915549 h 3818778"/>
              <a:gd name="connsiteX3" fmla="*/ 2767375 w 3800476"/>
              <a:gd name="connsiteY3" fmla="*/ 474983 h 3818778"/>
              <a:gd name="connsiteX4" fmla="*/ 2807030 w 3800476"/>
              <a:gd name="connsiteY4" fmla="*/ 529133 h 3818778"/>
              <a:gd name="connsiteX5" fmla="*/ 2062149 w 3800476"/>
              <a:gd name="connsiteY5" fmla="*/ 1074623 h 3818778"/>
              <a:gd name="connsiteX6" fmla="*/ 2072852 w 3800476"/>
              <a:gd name="connsiteY6" fmla="*/ 1103674 h 3818778"/>
              <a:gd name="connsiteX7" fmla="*/ 2004809 w 3800476"/>
              <a:gd name="connsiteY7" fmla="*/ 1250778 h 3818778"/>
              <a:gd name="connsiteX8" fmla="*/ 1667138 w 3800476"/>
              <a:gd name="connsiteY8" fmla="*/ 1458827 h 3818778"/>
              <a:gd name="connsiteX9" fmla="*/ 1579563 w 3800476"/>
              <a:gd name="connsiteY9" fmla="*/ 1526429 h 3818778"/>
              <a:gd name="connsiteX10" fmla="*/ 1460500 w 3800476"/>
              <a:gd name="connsiteY10" fmla="*/ 1548654 h 3818778"/>
              <a:gd name="connsiteX11" fmla="*/ 1362075 w 3800476"/>
              <a:gd name="connsiteY11" fmla="*/ 1428004 h 3818778"/>
              <a:gd name="connsiteX12" fmla="*/ 1362075 w 3800476"/>
              <a:gd name="connsiteY12" fmla="*/ 1145429 h 3818778"/>
              <a:gd name="connsiteX13" fmla="*/ 1270992 w 3800476"/>
              <a:gd name="connsiteY13" fmla="*/ 1154756 h 3818778"/>
              <a:gd name="connsiteX14" fmla="*/ 1241424 w 3800476"/>
              <a:gd name="connsiteY14" fmla="*/ 1155478 h 3818778"/>
              <a:gd name="connsiteX15" fmla="*/ 1241424 w 3800476"/>
              <a:gd name="connsiteY15" fmla="*/ 2011060 h 3818778"/>
              <a:gd name="connsiteX16" fmla="*/ 1241424 w 3800476"/>
              <a:gd name="connsiteY16" fmla="*/ 2037603 h 3818778"/>
              <a:gd name="connsiteX17" fmla="*/ 1241424 w 3800476"/>
              <a:gd name="connsiteY17" fmla="*/ 3626690 h 3818778"/>
              <a:gd name="connsiteX18" fmla="*/ 1049336 w 3800476"/>
              <a:gd name="connsiteY18" fmla="*/ 3818778 h 3818778"/>
              <a:gd name="connsiteX19" fmla="*/ 857248 w 3800476"/>
              <a:gd name="connsiteY19" fmla="*/ 3626690 h 3818778"/>
              <a:gd name="connsiteX20" fmla="*/ 857249 w 3800476"/>
              <a:gd name="connsiteY20" fmla="*/ 2037603 h 3818778"/>
              <a:gd name="connsiteX21" fmla="*/ 768349 w 3800476"/>
              <a:gd name="connsiteY21" fmla="*/ 2037603 h 3818778"/>
              <a:gd name="connsiteX22" fmla="*/ 768349 w 3800476"/>
              <a:gd name="connsiteY22" fmla="*/ 3626690 h 3818778"/>
              <a:gd name="connsiteX23" fmla="*/ 576261 w 3800476"/>
              <a:gd name="connsiteY23" fmla="*/ 3818778 h 3818778"/>
              <a:gd name="connsiteX24" fmla="*/ 384173 w 3800476"/>
              <a:gd name="connsiteY24" fmla="*/ 3626690 h 3818778"/>
              <a:gd name="connsiteX25" fmla="*/ 384174 w 3800476"/>
              <a:gd name="connsiteY25" fmla="*/ 2037603 h 3818778"/>
              <a:gd name="connsiteX26" fmla="*/ 384173 w 3800476"/>
              <a:gd name="connsiteY26" fmla="*/ 2037603 h 3818778"/>
              <a:gd name="connsiteX27" fmla="*/ 384173 w 3800476"/>
              <a:gd name="connsiteY27" fmla="*/ 1161304 h 3818778"/>
              <a:gd name="connsiteX28" fmla="*/ 295274 w 3800476"/>
              <a:gd name="connsiteY28" fmla="*/ 1161304 h 3818778"/>
              <a:gd name="connsiteX29" fmla="*/ 295274 w 3800476"/>
              <a:gd name="connsiteY29" fmla="*/ 1971922 h 3818778"/>
              <a:gd name="connsiteX30" fmla="*/ 148657 w 3800476"/>
              <a:gd name="connsiteY30" fmla="*/ 2118539 h 3818778"/>
              <a:gd name="connsiteX31" fmla="*/ 2040 w 3800476"/>
              <a:gd name="connsiteY31" fmla="*/ 1971922 h 3818778"/>
              <a:gd name="connsiteX32" fmla="*/ 2041 w 3800476"/>
              <a:gd name="connsiteY32" fmla="*/ 1161304 h 3818778"/>
              <a:gd name="connsiteX33" fmla="*/ 0 w 3800476"/>
              <a:gd name="connsiteY33" fmla="*/ 1161304 h 3818778"/>
              <a:gd name="connsiteX34" fmla="*/ 0 w 3800476"/>
              <a:gd name="connsiteY34" fmla="*/ 1008904 h 3818778"/>
              <a:gd name="connsiteX35" fmla="*/ 295275 w 3800476"/>
              <a:gd name="connsiteY35" fmla="*/ 732679 h 3818778"/>
              <a:gd name="connsiteX36" fmla="*/ 660400 w 3800476"/>
              <a:gd name="connsiteY36" fmla="*/ 726329 h 3818778"/>
              <a:gd name="connsiteX37" fmla="*/ 825500 w 3800476"/>
              <a:gd name="connsiteY37" fmla="*/ 989854 h 3818778"/>
              <a:gd name="connsiteX38" fmla="*/ 977900 w 3800476"/>
              <a:gd name="connsiteY38" fmla="*/ 729504 h 3818778"/>
              <a:gd name="connsiteX39" fmla="*/ 1298575 w 3800476"/>
              <a:gd name="connsiteY39" fmla="*/ 726329 h 3818778"/>
              <a:gd name="connsiteX40" fmla="*/ 1638796 w 3800476"/>
              <a:gd name="connsiteY40" fmla="*/ 1025176 h 3818778"/>
              <a:gd name="connsiteX41" fmla="*/ 1657008 w 3800476"/>
              <a:gd name="connsiteY41" fmla="*/ 1120645 h 3818778"/>
              <a:gd name="connsiteX42" fmla="*/ 1850990 w 3800476"/>
              <a:gd name="connsiteY42" fmla="*/ 1001126 h 3818778"/>
              <a:gd name="connsiteX43" fmla="*/ 2012979 w 3800476"/>
              <a:gd name="connsiteY43" fmla="*/ 1006499 h 3818778"/>
              <a:gd name="connsiteX44" fmla="*/ 2024596 w 3800476"/>
              <a:gd name="connsiteY44" fmla="*/ 1018934 h 3818778"/>
              <a:gd name="connsiteX45" fmla="*/ 1577976 w 3800476"/>
              <a:gd name="connsiteY45" fmla="*/ 184617 h 3818778"/>
              <a:gd name="connsiteX46" fmla="*/ 3800476 w 3800476"/>
              <a:gd name="connsiteY46" fmla="*/ 184617 h 3818778"/>
              <a:gd name="connsiteX47" fmla="*/ 3800476 w 3800476"/>
              <a:gd name="connsiteY47" fmla="*/ 1860200 h 3818778"/>
              <a:gd name="connsiteX48" fmla="*/ 1577976 w 3800476"/>
              <a:gd name="connsiteY48" fmla="*/ 1860200 h 3818778"/>
              <a:gd name="connsiteX49" fmla="*/ 1577976 w 3800476"/>
              <a:gd name="connsiteY49" fmla="*/ 1672743 h 3818778"/>
              <a:gd name="connsiteX50" fmla="*/ 1730270 w 3800476"/>
              <a:gd name="connsiteY50" fmla="*/ 1554292 h 3818778"/>
              <a:gd name="connsiteX51" fmla="*/ 1730270 w 3800476"/>
              <a:gd name="connsiteY51" fmla="*/ 1707906 h 3818778"/>
              <a:gd name="connsiteX52" fmla="*/ 3648182 w 3800476"/>
              <a:gd name="connsiteY52" fmla="*/ 1707906 h 3818778"/>
              <a:gd name="connsiteX53" fmla="*/ 3648182 w 3800476"/>
              <a:gd name="connsiteY53" fmla="*/ 336911 h 3818778"/>
              <a:gd name="connsiteX54" fmla="*/ 1730270 w 3800476"/>
              <a:gd name="connsiteY54" fmla="*/ 336911 h 3818778"/>
              <a:gd name="connsiteX55" fmla="*/ 1730270 w 3800476"/>
              <a:gd name="connsiteY55" fmla="*/ 909732 h 3818778"/>
              <a:gd name="connsiteX56" fmla="*/ 1677989 w 3800476"/>
              <a:gd name="connsiteY56" fmla="*/ 933497 h 3818778"/>
              <a:gd name="connsiteX57" fmla="*/ 1606998 w 3800476"/>
              <a:gd name="connsiteY57" fmla="*/ 792743 h 3818778"/>
              <a:gd name="connsiteX58" fmla="*/ 1577976 w 3800476"/>
              <a:gd name="connsiteY58" fmla="*/ 765497 h 3818778"/>
              <a:gd name="connsiteX59" fmla="*/ 812038 w 3800476"/>
              <a:gd name="connsiteY59" fmla="*/ 0 h 3818778"/>
              <a:gd name="connsiteX60" fmla="*/ 1141996 w 3800476"/>
              <a:gd name="connsiteY60" fmla="*/ 329958 h 3818778"/>
              <a:gd name="connsiteX61" fmla="*/ 812038 w 3800476"/>
              <a:gd name="connsiteY61" fmla="*/ 659916 h 3818778"/>
              <a:gd name="connsiteX62" fmla="*/ 482080 w 3800476"/>
              <a:gd name="connsiteY62" fmla="*/ 329958 h 3818778"/>
              <a:gd name="connsiteX63" fmla="*/ 812038 w 3800476"/>
              <a:gd name="connsiteY63" fmla="*/ 0 h 3818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800476" h="3818778">
                <a:moveTo>
                  <a:pt x="1730270" y="912193"/>
                </a:moveTo>
                <a:lnTo>
                  <a:pt x="1730270" y="915464"/>
                </a:lnTo>
                <a:lnTo>
                  <a:pt x="1730128" y="915549"/>
                </a:lnTo>
                <a:close/>
                <a:moveTo>
                  <a:pt x="2767375" y="474983"/>
                </a:moveTo>
                <a:lnTo>
                  <a:pt x="2807030" y="529133"/>
                </a:lnTo>
                <a:lnTo>
                  <a:pt x="2062149" y="1074623"/>
                </a:lnTo>
                <a:lnTo>
                  <a:pt x="2072852" y="1103674"/>
                </a:lnTo>
                <a:cubicBezTo>
                  <a:pt x="2081507" y="1160152"/>
                  <a:pt x="2056513" y="1218921"/>
                  <a:pt x="2004809" y="1250778"/>
                </a:cubicBezTo>
                <a:lnTo>
                  <a:pt x="1667138" y="1458827"/>
                </a:lnTo>
                <a:lnTo>
                  <a:pt x="1579563" y="1526429"/>
                </a:lnTo>
                <a:cubicBezTo>
                  <a:pt x="1544638" y="1543362"/>
                  <a:pt x="1504950" y="1552358"/>
                  <a:pt x="1460500" y="1548654"/>
                </a:cubicBezTo>
                <a:cubicBezTo>
                  <a:pt x="1383242" y="1517962"/>
                  <a:pt x="1363133" y="1468221"/>
                  <a:pt x="1362075" y="1428004"/>
                </a:cubicBezTo>
                <a:lnTo>
                  <a:pt x="1362075" y="1145429"/>
                </a:lnTo>
                <a:cubicBezTo>
                  <a:pt x="1369219" y="1149927"/>
                  <a:pt x="1333500" y="1152837"/>
                  <a:pt x="1270992" y="1154756"/>
                </a:cubicBezTo>
                <a:lnTo>
                  <a:pt x="1241424" y="1155478"/>
                </a:lnTo>
                <a:lnTo>
                  <a:pt x="1241424" y="2011060"/>
                </a:lnTo>
                <a:lnTo>
                  <a:pt x="1241424" y="2037603"/>
                </a:lnTo>
                <a:lnTo>
                  <a:pt x="1241424" y="3626690"/>
                </a:lnTo>
                <a:cubicBezTo>
                  <a:pt x="1241424" y="3732777"/>
                  <a:pt x="1155423" y="3818778"/>
                  <a:pt x="1049336" y="3818778"/>
                </a:cubicBezTo>
                <a:cubicBezTo>
                  <a:pt x="943249" y="3818778"/>
                  <a:pt x="857248" y="3732777"/>
                  <a:pt x="857248" y="3626690"/>
                </a:cubicBezTo>
                <a:lnTo>
                  <a:pt x="857249" y="2037603"/>
                </a:lnTo>
                <a:lnTo>
                  <a:pt x="768349" y="2037603"/>
                </a:lnTo>
                <a:lnTo>
                  <a:pt x="768349" y="3626690"/>
                </a:lnTo>
                <a:cubicBezTo>
                  <a:pt x="768349" y="3732777"/>
                  <a:pt x="682348" y="3818778"/>
                  <a:pt x="576261" y="3818778"/>
                </a:cubicBezTo>
                <a:cubicBezTo>
                  <a:pt x="470174" y="3818778"/>
                  <a:pt x="384173" y="3732777"/>
                  <a:pt x="384173" y="3626690"/>
                </a:cubicBezTo>
                <a:lnTo>
                  <a:pt x="384174" y="2037603"/>
                </a:lnTo>
                <a:lnTo>
                  <a:pt x="384173" y="2037603"/>
                </a:lnTo>
                <a:lnTo>
                  <a:pt x="384173" y="1161304"/>
                </a:lnTo>
                <a:lnTo>
                  <a:pt x="295274" y="1161304"/>
                </a:lnTo>
                <a:lnTo>
                  <a:pt x="295274" y="1971922"/>
                </a:lnTo>
                <a:cubicBezTo>
                  <a:pt x="295274" y="2052896"/>
                  <a:pt x="229631" y="2118539"/>
                  <a:pt x="148657" y="2118539"/>
                </a:cubicBezTo>
                <a:cubicBezTo>
                  <a:pt x="67683" y="2118539"/>
                  <a:pt x="2040" y="2052896"/>
                  <a:pt x="2040" y="1971922"/>
                </a:cubicBezTo>
                <a:lnTo>
                  <a:pt x="2041" y="1161304"/>
                </a:lnTo>
                <a:lnTo>
                  <a:pt x="0" y="1161304"/>
                </a:lnTo>
                <a:lnTo>
                  <a:pt x="0" y="1008904"/>
                </a:lnTo>
                <a:cubicBezTo>
                  <a:pt x="95250" y="831104"/>
                  <a:pt x="161925" y="783479"/>
                  <a:pt x="295275" y="732679"/>
                </a:cubicBezTo>
                <a:lnTo>
                  <a:pt x="660400" y="726329"/>
                </a:lnTo>
                <a:lnTo>
                  <a:pt x="825500" y="989854"/>
                </a:lnTo>
                <a:lnTo>
                  <a:pt x="977900" y="729504"/>
                </a:lnTo>
                <a:lnTo>
                  <a:pt x="1298575" y="726329"/>
                </a:lnTo>
                <a:cubicBezTo>
                  <a:pt x="1541463" y="822372"/>
                  <a:pt x="1609328" y="916631"/>
                  <a:pt x="1638796" y="1025176"/>
                </a:cubicBezTo>
                <a:lnTo>
                  <a:pt x="1657008" y="1120645"/>
                </a:lnTo>
                <a:lnTo>
                  <a:pt x="1850990" y="1001126"/>
                </a:lnTo>
                <a:cubicBezTo>
                  <a:pt x="1902694" y="969269"/>
                  <a:pt x="1966426" y="973372"/>
                  <a:pt x="2012979" y="1006499"/>
                </a:cubicBezTo>
                <a:lnTo>
                  <a:pt x="2024596" y="1018934"/>
                </a:lnTo>
                <a:close/>
                <a:moveTo>
                  <a:pt x="1577976" y="184617"/>
                </a:moveTo>
                <a:lnTo>
                  <a:pt x="3800476" y="184617"/>
                </a:lnTo>
                <a:lnTo>
                  <a:pt x="3800476" y="1860200"/>
                </a:lnTo>
                <a:lnTo>
                  <a:pt x="1577976" y="1860200"/>
                </a:lnTo>
                <a:lnTo>
                  <a:pt x="1577976" y="1672743"/>
                </a:lnTo>
                <a:lnTo>
                  <a:pt x="1730270" y="1554292"/>
                </a:lnTo>
                <a:lnTo>
                  <a:pt x="1730270" y="1707906"/>
                </a:lnTo>
                <a:lnTo>
                  <a:pt x="3648182" y="1707906"/>
                </a:lnTo>
                <a:lnTo>
                  <a:pt x="3648182" y="336911"/>
                </a:lnTo>
                <a:lnTo>
                  <a:pt x="1730270" y="336911"/>
                </a:lnTo>
                <a:lnTo>
                  <a:pt x="1730270" y="909732"/>
                </a:lnTo>
                <a:lnTo>
                  <a:pt x="1677989" y="933497"/>
                </a:lnTo>
                <a:cubicBezTo>
                  <a:pt x="1669060" y="888254"/>
                  <a:pt x="1649414" y="840331"/>
                  <a:pt x="1606998" y="792743"/>
                </a:cubicBezTo>
                <a:lnTo>
                  <a:pt x="1577976" y="765497"/>
                </a:lnTo>
                <a:close/>
                <a:moveTo>
                  <a:pt x="812038" y="0"/>
                </a:moveTo>
                <a:cubicBezTo>
                  <a:pt x="994269" y="0"/>
                  <a:pt x="1141996" y="147727"/>
                  <a:pt x="1141996" y="329958"/>
                </a:cubicBezTo>
                <a:cubicBezTo>
                  <a:pt x="1141996" y="512189"/>
                  <a:pt x="994269" y="659916"/>
                  <a:pt x="812038" y="659916"/>
                </a:cubicBezTo>
                <a:cubicBezTo>
                  <a:pt x="629807" y="659916"/>
                  <a:pt x="482080" y="512189"/>
                  <a:pt x="482080" y="329958"/>
                </a:cubicBezTo>
                <a:cubicBezTo>
                  <a:pt x="482080" y="147727"/>
                  <a:pt x="629807" y="0"/>
                  <a:pt x="81203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2050"/>
          <p:cNvSpPr/>
          <p:nvPr/>
        </p:nvSpPr>
        <p:spPr>
          <a:xfrm>
            <a:off x="789813" y="4396304"/>
            <a:ext cx="425690" cy="511799"/>
          </a:xfrm>
          <a:custGeom>
            <a:avLst/>
            <a:gdLst/>
            <a:ahLst/>
            <a:cxnLst/>
            <a:rect l="l" t="t" r="r" b="b"/>
            <a:pathLst>
              <a:path w="1147763" h="1379935">
                <a:moveTo>
                  <a:pt x="800462" y="1079197"/>
                </a:moveTo>
                <a:cubicBezTo>
                  <a:pt x="796254" y="1079197"/>
                  <a:pt x="792842" y="1082609"/>
                  <a:pt x="792842" y="1086817"/>
                </a:cubicBezTo>
                <a:lnTo>
                  <a:pt x="792842" y="1117296"/>
                </a:lnTo>
                <a:cubicBezTo>
                  <a:pt x="792842" y="1121504"/>
                  <a:pt x="796254" y="1124916"/>
                  <a:pt x="800462" y="1124916"/>
                </a:cubicBezTo>
                <a:lnTo>
                  <a:pt x="1059542" y="1124916"/>
                </a:lnTo>
                <a:cubicBezTo>
                  <a:pt x="1063750" y="1124916"/>
                  <a:pt x="1067162" y="1121504"/>
                  <a:pt x="1067162" y="1117296"/>
                </a:cubicBezTo>
                <a:lnTo>
                  <a:pt x="1067162" y="1086817"/>
                </a:lnTo>
                <a:cubicBezTo>
                  <a:pt x="1067162" y="1082609"/>
                  <a:pt x="1063750" y="1079197"/>
                  <a:pt x="1059542" y="1079197"/>
                </a:cubicBezTo>
                <a:close/>
                <a:moveTo>
                  <a:pt x="573881" y="667716"/>
                </a:moveTo>
                <a:lnTo>
                  <a:pt x="710203" y="772716"/>
                </a:lnTo>
                <a:lnTo>
                  <a:pt x="573878" y="1222772"/>
                </a:lnTo>
                <a:lnTo>
                  <a:pt x="437559" y="772716"/>
                </a:lnTo>
                <a:close/>
                <a:moveTo>
                  <a:pt x="851059" y="612473"/>
                </a:moveTo>
                <a:lnTo>
                  <a:pt x="1019850" y="612473"/>
                </a:lnTo>
                <a:cubicBezTo>
                  <a:pt x="1090494" y="612473"/>
                  <a:pt x="1147763" y="669742"/>
                  <a:pt x="1147763" y="740386"/>
                </a:cubicBezTo>
                <a:lnTo>
                  <a:pt x="1147763" y="1252022"/>
                </a:lnTo>
                <a:cubicBezTo>
                  <a:pt x="1147763" y="1322666"/>
                  <a:pt x="1090494" y="1379935"/>
                  <a:pt x="1019850" y="1379935"/>
                </a:cubicBezTo>
                <a:lnTo>
                  <a:pt x="618845" y="1379935"/>
                </a:lnTo>
                <a:close/>
                <a:moveTo>
                  <a:pt x="127913" y="612473"/>
                </a:moveTo>
                <a:lnTo>
                  <a:pt x="296703" y="612473"/>
                </a:lnTo>
                <a:lnTo>
                  <a:pt x="528917" y="1379935"/>
                </a:lnTo>
                <a:lnTo>
                  <a:pt x="127913" y="1379935"/>
                </a:lnTo>
                <a:cubicBezTo>
                  <a:pt x="57269" y="1379935"/>
                  <a:pt x="0" y="1322666"/>
                  <a:pt x="0" y="1252022"/>
                </a:cubicBezTo>
                <a:lnTo>
                  <a:pt x="0" y="740386"/>
                </a:lnTo>
                <a:cubicBezTo>
                  <a:pt x="0" y="669742"/>
                  <a:pt x="57269" y="612473"/>
                  <a:pt x="127913" y="612473"/>
                </a:cubicBezTo>
                <a:close/>
                <a:moveTo>
                  <a:pt x="573881" y="0"/>
                </a:moveTo>
                <a:cubicBezTo>
                  <a:pt x="733013" y="0"/>
                  <a:pt x="862015" y="129001"/>
                  <a:pt x="862015" y="288132"/>
                </a:cubicBezTo>
                <a:cubicBezTo>
                  <a:pt x="862015" y="447263"/>
                  <a:pt x="733013" y="576264"/>
                  <a:pt x="573881" y="576264"/>
                </a:cubicBezTo>
                <a:cubicBezTo>
                  <a:pt x="414749" y="576264"/>
                  <a:pt x="285747" y="447263"/>
                  <a:pt x="285747" y="288132"/>
                </a:cubicBezTo>
                <a:cubicBezTo>
                  <a:pt x="285747" y="129001"/>
                  <a:pt x="414749" y="0"/>
                  <a:pt x="573881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8" name="Rectangle 110"/>
          <p:cNvSpPr/>
          <p:nvPr/>
        </p:nvSpPr>
        <p:spPr>
          <a:xfrm>
            <a:off x="3786021" y="5794474"/>
            <a:ext cx="577785" cy="371395"/>
          </a:xfrm>
          <a:custGeom>
            <a:avLst/>
            <a:gdLst/>
            <a:ahLst/>
            <a:cxnLst/>
            <a:rect l="l" t="t" r="r" b="b"/>
            <a:pathLst>
              <a:path w="1849310" h="1188720">
                <a:moveTo>
                  <a:pt x="307975" y="1119028"/>
                </a:moveTo>
                <a:lnTo>
                  <a:pt x="376079" y="1119028"/>
                </a:lnTo>
                <a:lnTo>
                  <a:pt x="376079" y="1187132"/>
                </a:lnTo>
                <a:lnTo>
                  <a:pt x="307975" y="1187132"/>
                </a:lnTo>
                <a:close/>
                <a:moveTo>
                  <a:pt x="556134" y="1050924"/>
                </a:moveTo>
                <a:lnTo>
                  <a:pt x="624238" y="1050924"/>
                </a:lnTo>
                <a:lnTo>
                  <a:pt x="624238" y="1187132"/>
                </a:lnTo>
                <a:lnTo>
                  <a:pt x="419926" y="1187132"/>
                </a:lnTo>
                <a:lnTo>
                  <a:pt x="419926" y="1119028"/>
                </a:lnTo>
                <a:lnTo>
                  <a:pt x="488030" y="1119028"/>
                </a:lnTo>
                <a:lnTo>
                  <a:pt x="556134" y="1119028"/>
                </a:lnTo>
                <a:close/>
                <a:moveTo>
                  <a:pt x="203200" y="1050924"/>
                </a:moveTo>
                <a:lnTo>
                  <a:pt x="271304" y="1050924"/>
                </a:lnTo>
                <a:lnTo>
                  <a:pt x="271304" y="1119028"/>
                </a:lnTo>
                <a:lnTo>
                  <a:pt x="203200" y="1119028"/>
                </a:lnTo>
                <a:close/>
                <a:moveTo>
                  <a:pt x="488030" y="982820"/>
                </a:moveTo>
                <a:lnTo>
                  <a:pt x="556134" y="982820"/>
                </a:lnTo>
                <a:lnTo>
                  <a:pt x="556134" y="1050924"/>
                </a:lnTo>
                <a:lnTo>
                  <a:pt x="488030" y="1050924"/>
                </a:lnTo>
                <a:close/>
                <a:moveTo>
                  <a:pt x="307975" y="982820"/>
                </a:moveTo>
                <a:lnTo>
                  <a:pt x="376079" y="982820"/>
                </a:lnTo>
                <a:lnTo>
                  <a:pt x="376079" y="1050924"/>
                </a:lnTo>
                <a:lnTo>
                  <a:pt x="307975" y="1050924"/>
                </a:lnTo>
                <a:close/>
                <a:moveTo>
                  <a:pt x="0" y="982820"/>
                </a:moveTo>
                <a:lnTo>
                  <a:pt x="68104" y="982820"/>
                </a:lnTo>
                <a:lnTo>
                  <a:pt x="68104" y="1050924"/>
                </a:lnTo>
                <a:lnTo>
                  <a:pt x="0" y="1050924"/>
                </a:lnTo>
                <a:close/>
                <a:moveTo>
                  <a:pt x="556134" y="914716"/>
                </a:moveTo>
                <a:lnTo>
                  <a:pt x="624238" y="914716"/>
                </a:lnTo>
                <a:lnTo>
                  <a:pt x="624238" y="982820"/>
                </a:lnTo>
                <a:lnTo>
                  <a:pt x="556134" y="982820"/>
                </a:lnTo>
                <a:close/>
                <a:moveTo>
                  <a:pt x="405214" y="817245"/>
                </a:moveTo>
                <a:lnTo>
                  <a:pt x="473318" y="817245"/>
                </a:lnTo>
                <a:lnTo>
                  <a:pt x="473318" y="885349"/>
                </a:lnTo>
                <a:lnTo>
                  <a:pt x="405214" y="885349"/>
                </a:lnTo>
                <a:close/>
                <a:moveTo>
                  <a:pt x="1114268" y="815354"/>
                </a:moveTo>
                <a:lnTo>
                  <a:pt x="1114268" y="1188720"/>
                </a:lnTo>
                <a:lnTo>
                  <a:pt x="913100" y="1188720"/>
                </a:lnTo>
                <a:lnTo>
                  <a:pt x="913100" y="917151"/>
                </a:lnTo>
                <a:close/>
                <a:moveTo>
                  <a:pt x="135096" y="772795"/>
                </a:moveTo>
                <a:lnTo>
                  <a:pt x="203200" y="772795"/>
                </a:lnTo>
                <a:lnTo>
                  <a:pt x="203200" y="840899"/>
                </a:lnTo>
                <a:lnTo>
                  <a:pt x="135096" y="840899"/>
                </a:lnTo>
                <a:close/>
                <a:moveTo>
                  <a:pt x="668085" y="731520"/>
                </a:moveTo>
                <a:lnTo>
                  <a:pt x="801149" y="731520"/>
                </a:lnTo>
                <a:lnTo>
                  <a:pt x="801149" y="799624"/>
                </a:lnTo>
                <a:lnTo>
                  <a:pt x="869253" y="799624"/>
                </a:lnTo>
                <a:lnTo>
                  <a:pt x="869253" y="836858"/>
                </a:lnTo>
                <a:lnTo>
                  <a:pt x="669618" y="937879"/>
                </a:lnTo>
                <a:lnTo>
                  <a:pt x="710904" y="1019468"/>
                </a:lnTo>
                <a:lnTo>
                  <a:pt x="869253" y="939338"/>
                </a:lnTo>
                <a:lnTo>
                  <a:pt x="869253" y="1188720"/>
                </a:lnTo>
                <a:lnTo>
                  <a:pt x="668085" y="1188720"/>
                </a:lnTo>
                <a:close/>
                <a:moveTo>
                  <a:pt x="1359283" y="691369"/>
                </a:moveTo>
                <a:lnTo>
                  <a:pt x="1359283" y="1188720"/>
                </a:lnTo>
                <a:lnTo>
                  <a:pt x="1158115" y="1188720"/>
                </a:lnTo>
                <a:lnTo>
                  <a:pt x="1158115" y="793166"/>
                </a:lnTo>
                <a:close/>
                <a:moveTo>
                  <a:pt x="801149" y="663416"/>
                </a:moveTo>
                <a:lnTo>
                  <a:pt x="869253" y="663416"/>
                </a:lnTo>
                <a:lnTo>
                  <a:pt x="869253" y="731520"/>
                </a:lnTo>
                <a:lnTo>
                  <a:pt x="801149" y="731520"/>
                </a:lnTo>
                <a:close/>
                <a:moveTo>
                  <a:pt x="1604298" y="567384"/>
                </a:moveTo>
                <a:lnTo>
                  <a:pt x="1604298" y="1188720"/>
                </a:lnTo>
                <a:lnTo>
                  <a:pt x="1403130" y="1188720"/>
                </a:lnTo>
                <a:lnTo>
                  <a:pt x="1403130" y="669181"/>
                </a:lnTo>
                <a:close/>
                <a:moveTo>
                  <a:pt x="913100" y="548640"/>
                </a:moveTo>
                <a:lnTo>
                  <a:pt x="1114268" y="548640"/>
                </a:lnTo>
                <a:lnTo>
                  <a:pt x="1114268" y="712873"/>
                </a:lnTo>
                <a:lnTo>
                  <a:pt x="913100" y="814670"/>
                </a:lnTo>
                <a:close/>
                <a:moveTo>
                  <a:pt x="249408" y="466647"/>
                </a:moveTo>
                <a:lnTo>
                  <a:pt x="317512" y="466647"/>
                </a:lnTo>
                <a:lnTo>
                  <a:pt x="317512" y="534751"/>
                </a:lnTo>
                <a:lnTo>
                  <a:pt x="249408" y="534751"/>
                </a:lnTo>
                <a:close/>
                <a:moveTo>
                  <a:pt x="1158115" y="365760"/>
                </a:moveTo>
                <a:lnTo>
                  <a:pt x="1359283" y="365760"/>
                </a:lnTo>
                <a:lnTo>
                  <a:pt x="1359283" y="588888"/>
                </a:lnTo>
                <a:lnTo>
                  <a:pt x="1158115" y="690685"/>
                </a:lnTo>
                <a:close/>
                <a:moveTo>
                  <a:pt x="1403130" y="182880"/>
                </a:moveTo>
                <a:lnTo>
                  <a:pt x="1604298" y="182880"/>
                </a:lnTo>
                <a:lnTo>
                  <a:pt x="1604298" y="464903"/>
                </a:lnTo>
                <a:lnTo>
                  <a:pt x="1403130" y="566700"/>
                </a:lnTo>
                <a:close/>
                <a:moveTo>
                  <a:pt x="1648142" y="0"/>
                </a:moveTo>
                <a:lnTo>
                  <a:pt x="1849310" y="0"/>
                </a:lnTo>
                <a:lnTo>
                  <a:pt x="1849310" y="1188720"/>
                </a:lnTo>
                <a:lnTo>
                  <a:pt x="1648142" y="1188720"/>
                </a:lnTo>
                <a:lnTo>
                  <a:pt x="1648142" y="545198"/>
                </a:lnTo>
                <a:lnTo>
                  <a:pt x="1771558" y="482746"/>
                </a:lnTo>
                <a:lnTo>
                  <a:pt x="1792201" y="523540"/>
                </a:lnTo>
                <a:lnTo>
                  <a:pt x="1832503" y="400665"/>
                </a:lnTo>
                <a:lnTo>
                  <a:pt x="1709628" y="360363"/>
                </a:lnTo>
                <a:lnTo>
                  <a:pt x="1730271" y="401157"/>
                </a:lnTo>
                <a:lnTo>
                  <a:pt x="1648142" y="442717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sp>
        <p:nvSpPr>
          <p:cNvPr id="70" name="Donut 80"/>
          <p:cNvSpPr/>
          <p:nvPr/>
        </p:nvSpPr>
        <p:spPr bwMode="auto">
          <a:xfrm>
            <a:off x="6832204" y="1658597"/>
            <a:ext cx="538267" cy="429626"/>
          </a:xfrm>
          <a:custGeom>
            <a:avLst/>
            <a:gdLst/>
            <a:ahLst/>
            <a:cxnLst/>
            <a:rect l="l" t="t" r="r" b="b"/>
            <a:pathLst>
              <a:path w="4812161" h="3840901">
                <a:moveTo>
                  <a:pt x="3296159" y="2000287"/>
                </a:moveTo>
                <a:cubicBezTo>
                  <a:pt x="3116881" y="2000287"/>
                  <a:pt x="2971547" y="2145621"/>
                  <a:pt x="2971547" y="2324899"/>
                </a:cubicBezTo>
                <a:cubicBezTo>
                  <a:pt x="2971547" y="2504177"/>
                  <a:pt x="3116881" y="2649511"/>
                  <a:pt x="3296159" y="2649511"/>
                </a:cubicBezTo>
                <a:cubicBezTo>
                  <a:pt x="3475437" y="2649511"/>
                  <a:pt x="3620771" y="2504177"/>
                  <a:pt x="3620771" y="2324899"/>
                </a:cubicBezTo>
                <a:cubicBezTo>
                  <a:pt x="3620771" y="2145621"/>
                  <a:pt x="3475437" y="2000287"/>
                  <a:pt x="3296159" y="2000287"/>
                </a:cubicBezTo>
                <a:close/>
                <a:moveTo>
                  <a:pt x="3296159" y="1675675"/>
                </a:moveTo>
                <a:cubicBezTo>
                  <a:pt x="3654716" y="1675675"/>
                  <a:pt x="3945383" y="1966342"/>
                  <a:pt x="3945383" y="2324899"/>
                </a:cubicBezTo>
                <a:cubicBezTo>
                  <a:pt x="3945383" y="2683456"/>
                  <a:pt x="3654716" y="2974123"/>
                  <a:pt x="3296159" y="2974123"/>
                </a:cubicBezTo>
                <a:cubicBezTo>
                  <a:pt x="2937602" y="2974123"/>
                  <a:pt x="2646935" y="2683456"/>
                  <a:pt x="2646935" y="2324899"/>
                </a:cubicBezTo>
                <a:cubicBezTo>
                  <a:pt x="2646935" y="1966342"/>
                  <a:pt x="2937602" y="1675675"/>
                  <a:pt x="3296159" y="1675675"/>
                </a:cubicBezTo>
                <a:close/>
                <a:moveTo>
                  <a:pt x="3296159" y="1420210"/>
                </a:moveTo>
                <a:cubicBezTo>
                  <a:pt x="2796513" y="1420210"/>
                  <a:pt x="2391470" y="1825253"/>
                  <a:pt x="2391470" y="2324899"/>
                </a:cubicBezTo>
                <a:cubicBezTo>
                  <a:pt x="2391470" y="2824545"/>
                  <a:pt x="2796513" y="3229588"/>
                  <a:pt x="3296159" y="3229588"/>
                </a:cubicBezTo>
                <a:cubicBezTo>
                  <a:pt x="3795805" y="3229588"/>
                  <a:pt x="4200848" y="2824545"/>
                  <a:pt x="4200848" y="2324899"/>
                </a:cubicBezTo>
                <a:cubicBezTo>
                  <a:pt x="4200848" y="1825253"/>
                  <a:pt x="3795805" y="1420210"/>
                  <a:pt x="3296159" y="1420210"/>
                </a:cubicBezTo>
                <a:close/>
                <a:moveTo>
                  <a:pt x="3296159" y="808897"/>
                </a:moveTo>
                <a:cubicBezTo>
                  <a:pt x="3370288" y="808897"/>
                  <a:pt x="3443173" y="814218"/>
                  <a:pt x="3514208" y="826185"/>
                </a:cubicBezTo>
                <a:cubicBezTo>
                  <a:pt x="3590275" y="1345671"/>
                  <a:pt x="4110542" y="1236614"/>
                  <a:pt x="4171519" y="1171489"/>
                </a:cubicBezTo>
                <a:lnTo>
                  <a:pt x="4215967" y="1123398"/>
                </a:lnTo>
                <a:cubicBezTo>
                  <a:pt x="4326392" y="1205433"/>
                  <a:pt x="4423576" y="1303917"/>
                  <a:pt x="4506024" y="1414131"/>
                </a:cubicBezTo>
                <a:cubicBezTo>
                  <a:pt x="4193319" y="1914120"/>
                  <a:pt x="4701014" y="2151102"/>
                  <a:pt x="4799529" y="2138412"/>
                </a:cubicBezTo>
                <a:cubicBezTo>
                  <a:pt x="4808295" y="2199419"/>
                  <a:pt x="4812161" y="2261708"/>
                  <a:pt x="4812161" y="2324899"/>
                </a:cubicBezTo>
                <a:cubicBezTo>
                  <a:pt x="4812161" y="2388615"/>
                  <a:pt x="4808231" y="2451413"/>
                  <a:pt x="4799054" y="2512849"/>
                </a:cubicBezTo>
                <a:cubicBezTo>
                  <a:pt x="4788113" y="2515889"/>
                  <a:pt x="4778304" y="2519618"/>
                  <a:pt x="4769770" y="2523906"/>
                </a:cubicBezTo>
                <a:lnTo>
                  <a:pt x="4769199" y="2523774"/>
                </a:lnTo>
                <a:cubicBezTo>
                  <a:pt x="4276600" y="2692966"/>
                  <a:pt x="4408190" y="3103551"/>
                  <a:pt x="4504674" y="3235631"/>
                </a:cubicBezTo>
                <a:cubicBezTo>
                  <a:pt x="4424185" y="3345698"/>
                  <a:pt x="4327453" y="3442859"/>
                  <a:pt x="4219101" y="3525661"/>
                </a:cubicBezTo>
                <a:cubicBezTo>
                  <a:pt x="3740127" y="3239817"/>
                  <a:pt x="3508490" y="3714698"/>
                  <a:pt x="3512861" y="3823658"/>
                </a:cubicBezTo>
                <a:cubicBezTo>
                  <a:pt x="3442266" y="3835647"/>
                  <a:pt x="3369826" y="3840901"/>
                  <a:pt x="3296159" y="3840901"/>
                </a:cubicBezTo>
                <a:cubicBezTo>
                  <a:pt x="3223977" y="3840901"/>
                  <a:pt x="3152974" y="3835857"/>
                  <a:pt x="3083692" y="3824633"/>
                </a:cubicBezTo>
                <a:cubicBezTo>
                  <a:pt x="2945132" y="3289289"/>
                  <a:pt x="2478158" y="3436602"/>
                  <a:pt x="2372141" y="3523198"/>
                </a:cubicBezTo>
                <a:cubicBezTo>
                  <a:pt x="2262805" y="3441349"/>
                  <a:pt x="2166565" y="3343329"/>
                  <a:pt x="2084868" y="3233760"/>
                </a:cubicBezTo>
                <a:cubicBezTo>
                  <a:pt x="2372460" y="2758314"/>
                  <a:pt x="1912484" y="2524914"/>
                  <a:pt x="1794482" y="2522480"/>
                </a:cubicBezTo>
                <a:cubicBezTo>
                  <a:pt x="1784508" y="2457948"/>
                  <a:pt x="1780157" y="2391932"/>
                  <a:pt x="1780157" y="2324899"/>
                </a:cubicBezTo>
                <a:cubicBezTo>
                  <a:pt x="1780157" y="2258743"/>
                  <a:pt x="1784395" y="2193577"/>
                  <a:pt x="1793487" y="2129772"/>
                </a:cubicBezTo>
                <a:cubicBezTo>
                  <a:pt x="2324943" y="2022144"/>
                  <a:pt x="2174743" y="1501516"/>
                  <a:pt x="2104500" y="1445028"/>
                </a:cubicBezTo>
                <a:lnTo>
                  <a:pt x="2079323" y="1425048"/>
                </a:lnTo>
                <a:cubicBezTo>
                  <a:pt x="2158206" y="1315063"/>
                  <a:pt x="2253175" y="1217660"/>
                  <a:pt x="2359684" y="1134258"/>
                </a:cubicBezTo>
                <a:cubicBezTo>
                  <a:pt x="2861568" y="1444701"/>
                  <a:pt x="3096870" y="926345"/>
                  <a:pt x="3079479" y="835441"/>
                </a:cubicBezTo>
                <a:lnTo>
                  <a:pt x="3077691" y="826410"/>
                </a:lnTo>
                <a:cubicBezTo>
                  <a:pt x="3148845" y="814239"/>
                  <a:pt x="3221878" y="808897"/>
                  <a:pt x="3296159" y="808897"/>
                </a:cubicBezTo>
                <a:close/>
                <a:moveTo>
                  <a:pt x="1005840" y="789098"/>
                </a:moveTo>
                <a:cubicBezTo>
                  <a:pt x="886892" y="789098"/>
                  <a:pt x="790466" y="885357"/>
                  <a:pt x="790466" y="1004099"/>
                </a:cubicBezTo>
                <a:cubicBezTo>
                  <a:pt x="790466" y="1122841"/>
                  <a:pt x="886892" y="1219101"/>
                  <a:pt x="1005840" y="1219101"/>
                </a:cubicBezTo>
                <a:cubicBezTo>
                  <a:pt x="1124788" y="1219101"/>
                  <a:pt x="1221214" y="1122841"/>
                  <a:pt x="1221214" y="1004099"/>
                </a:cubicBezTo>
                <a:cubicBezTo>
                  <a:pt x="1221214" y="885357"/>
                  <a:pt x="1124788" y="789098"/>
                  <a:pt x="1005840" y="789098"/>
                </a:cubicBezTo>
                <a:close/>
                <a:moveTo>
                  <a:pt x="1005840" y="574096"/>
                </a:moveTo>
                <a:cubicBezTo>
                  <a:pt x="1243736" y="574096"/>
                  <a:pt x="1436589" y="766615"/>
                  <a:pt x="1436589" y="1004099"/>
                </a:cubicBezTo>
                <a:cubicBezTo>
                  <a:pt x="1436589" y="1241584"/>
                  <a:pt x="1243736" y="1434102"/>
                  <a:pt x="1005840" y="1434102"/>
                </a:cubicBezTo>
                <a:cubicBezTo>
                  <a:pt x="767944" y="1434102"/>
                  <a:pt x="575092" y="1241584"/>
                  <a:pt x="575092" y="1004099"/>
                </a:cubicBezTo>
                <a:cubicBezTo>
                  <a:pt x="575092" y="766615"/>
                  <a:pt x="767944" y="574096"/>
                  <a:pt x="1005840" y="574096"/>
                </a:cubicBezTo>
                <a:close/>
                <a:moveTo>
                  <a:pt x="1005840" y="404893"/>
                </a:moveTo>
                <a:cubicBezTo>
                  <a:pt x="674334" y="404893"/>
                  <a:pt x="405595" y="673167"/>
                  <a:pt x="405595" y="1004099"/>
                </a:cubicBezTo>
                <a:cubicBezTo>
                  <a:pt x="405595" y="1335031"/>
                  <a:pt x="674334" y="1603305"/>
                  <a:pt x="1005840" y="1603305"/>
                </a:cubicBezTo>
                <a:cubicBezTo>
                  <a:pt x="1337346" y="1603305"/>
                  <a:pt x="1606085" y="1335031"/>
                  <a:pt x="1606085" y="1004099"/>
                </a:cubicBezTo>
                <a:cubicBezTo>
                  <a:pt x="1606085" y="673167"/>
                  <a:pt x="1337346" y="404893"/>
                  <a:pt x="1005840" y="404893"/>
                </a:cubicBezTo>
                <a:close/>
                <a:moveTo>
                  <a:pt x="1005840" y="0"/>
                </a:moveTo>
                <a:cubicBezTo>
                  <a:pt x="1055023" y="0"/>
                  <a:pt x="1103381" y="3524"/>
                  <a:pt x="1150512" y="11450"/>
                </a:cubicBezTo>
                <a:cubicBezTo>
                  <a:pt x="1200981" y="355524"/>
                  <a:pt x="1546169" y="283291"/>
                  <a:pt x="1586626" y="240157"/>
                </a:cubicBezTo>
                <a:lnTo>
                  <a:pt x="1616116" y="208305"/>
                </a:lnTo>
                <a:cubicBezTo>
                  <a:pt x="1689381" y="262639"/>
                  <a:pt x="1753861" y="327868"/>
                  <a:pt x="1808564" y="400867"/>
                </a:cubicBezTo>
                <a:cubicBezTo>
                  <a:pt x="1601090" y="732026"/>
                  <a:pt x="1937936" y="888988"/>
                  <a:pt x="2003299" y="880583"/>
                </a:cubicBezTo>
                <a:cubicBezTo>
                  <a:pt x="2009115" y="920990"/>
                  <a:pt x="2011680" y="962246"/>
                  <a:pt x="2011680" y="1004099"/>
                </a:cubicBezTo>
                <a:cubicBezTo>
                  <a:pt x="2011680" y="1046300"/>
                  <a:pt x="2009073" y="1087894"/>
                  <a:pt x="2002984" y="1128585"/>
                </a:cubicBezTo>
                <a:cubicBezTo>
                  <a:pt x="1995725" y="1130598"/>
                  <a:pt x="1989217" y="1133068"/>
                  <a:pt x="1983554" y="1135908"/>
                </a:cubicBezTo>
                <a:lnTo>
                  <a:pt x="1983176" y="1135821"/>
                </a:lnTo>
                <a:cubicBezTo>
                  <a:pt x="1656345" y="1247882"/>
                  <a:pt x="1743653" y="1519827"/>
                  <a:pt x="1807668" y="1607308"/>
                </a:cubicBezTo>
                <a:cubicBezTo>
                  <a:pt x="1754265" y="1680209"/>
                  <a:pt x="1690085" y="1744562"/>
                  <a:pt x="1618196" y="1799404"/>
                </a:cubicBezTo>
                <a:cubicBezTo>
                  <a:pt x="1300405" y="1610080"/>
                  <a:pt x="1146718" y="1924610"/>
                  <a:pt x="1149618" y="1996778"/>
                </a:cubicBezTo>
                <a:cubicBezTo>
                  <a:pt x="1102780" y="2004718"/>
                  <a:pt x="1054717" y="2008198"/>
                  <a:pt x="1005840" y="2008198"/>
                </a:cubicBezTo>
                <a:cubicBezTo>
                  <a:pt x="957949" y="2008198"/>
                  <a:pt x="910840" y="2004857"/>
                  <a:pt x="864872" y="1997423"/>
                </a:cubicBezTo>
                <a:cubicBezTo>
                  <a:pt x="772940" y="1642847"/>
                  <a:pt x="463111" y="1740417"/>
                  <a:pt x="392771" y="1797773"/>
                </a:cubicBezTo>
                <a:cubicBezTo>
                  <a:pt x="320228" y="1743561"/>
                  <a:pt x="256375" y="1678640"/>
                  <a:pt x="202170" y="1606068"/>
                </a:cubicBezTo>
                <a:cubicBezTo>
                  <a:pt x="392982" y="1291164"/>
                  <a:pt x="87797" y="1136576"/>
                  <a:pt x="9505" y="1134964"/>
                </a:cubicBezTo>
                <a:cubicBezTo>
                  <a:pt x="2887" y="1092222"/>
                  <a:pt x="0" y="1048497"/>
                  <a:pt x="0" y="1004099"/>
                </a:cubicBezTo>
                <a:cubicBezTo>
                  <a:pt x="0" y="960282"/>
                  <a:pt x="2812" y="917120"/>
                  <a:pt x="8844" y="874860"/>
                </a:cubicBezTo>
                <a:cubicBezTo>
                  <a:pt x="361456" y="803574"/>
                  <a:pt x="261801" y="458745"/>
                  <a:pt x="215196" y="421331"/>
                </a:cubicBezTo>
                <a:lnTo>
                  <a:pt x="198491" y="408098"/>
                </a:lnTo>
                <a:cubicBezTo>
                  <a:pt x="250829" y="335251"/>
                  <a:pt x="313839" y="270738"/>
                  <a:pt x="384506" y="215498"/>
                </a:cubicBezTo>
                <a:cubicBezTo>
                  <a:pt x="717497" y="421114"/>
                  <a:pt x="873616" y="77790"/>
                  <a:pt x="862077" y="17581"/>
                </a:cubicBezTo>
                <a:lnTo>
                  <a:pt x="860891" y="11600"/>
                </a:lnTo>
                <a:cubicBezTo>
                  <a:pt x="908100" y="3538"/>
                  <a:pt x="956556" y="0"/>
                  <a:pt x="100584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1200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" name="Oval 39"/>
          <p:cNvSpPr/>
          <p:nvPr/>
        </p:nvSpPr>
        <p:spPr>
          <a:xfrm>
            <a:off x="6873202" y="3005412"/>
            <a:ext cx="476756" cy="535625"/>
          </a:xfrm>
          <a:custGeom>
            <a:avLst/>
            <a:gdLst/>
            <a:ahLst/>
            <a:cxnLst/>
            <a:rect l="l" t="t" r="r" b="b"/>
            <a:pathLst>
              <a:path w="4781359" h="5371757">
                <a:moveTo>
                  <a:pt x="4092637" y="3000907"/>
                </a:moveTo>
                <a:cubicBezTo>
                  <a:pt x="4473008" y="3000907"/>
                  <a:pt x="4781359" y="3309258"/>
                  <a:pt x="4781359" y="3689629"/>
                </a:cubicBezTo>
                <a:lnTo>
                  <a:pt x="4781359" y="4683035"/>
                </a:lnTo>
                <a:cubicBezTo>
                  <a:pt x="4781359" y="5063406"/>
                  <a:pt x="4473008" y="5371757"/>
                  <a:pt x="4092637" y="5371757"/>
                </a:cubicBezTo>
                <a:cubicBezTo>
                  <a:pt x="3712266" y="5371757"/>
                  <a:pt x="3403915" y="5063406"/>
                  <a:pt x="3403915" y="4683035"/>
                </a:cubicBezTo>
                <a:cubicBezTo>
                  <a:pt x="3404381" y="4521317"/>
                  <a:pt x="3404846" y="4359600"/>
                  <a:pt x="3405312" y="4197882"/>
                </a:cubicBezTo>
                <a:cubicBezTo>
                  <a:pt x="3522586" y="4408870"/>
                  <a:pt x="3706135" y="4513820"/>
                  <a:pt x="3795837" y="4534015"/>
                </a:cubicBezTo>
                <a:lnTo>
                  <a:pt x="3795837" y="4706411"/>
                </a:lnTo>
                <a:cubicBezTo>
                  <a:pt x="3795837" y="4870329"/>
                  <a:pt x="3928719" y="5003211"/>
                  <a:pt x="4092637" y="5003211"/>
                </a:cubicBezTo>
                <a:cubicBezTo>
                  <a:pt x="4256555" y="5003211"/>
                  <a:pt x="4389437" y="4870329"/>
                  <a:pt x="4389437" y="4706411"/>
                </a:cubicBezTo>
                <a:lnTo>
                  <a:pt x="4389437" y="3666253"/>
                </a:lnTo>
                <a:cubicBezTo>
                  <a:pt x="4389437" y="3502335"/>
                  <a:pt x="4256555" y="3369453"/>
                  <a:pt x="4092637" y="3369453"/>
                </a:cubicBezTo>
                <a:cubicBezTo>
                  <a:pt x="4062116" y="3369453"/>
                  <a:pt x="4032671" y="3374060"/>
                  <a:pt x="4005387" y="3383999"/>
                </a:cubicBezTo>
                <a:lnTo>
                  <a:pt x="4005387" y="3009702"/>
                </a:lnTo>
                <a:cubicBezTo>
                  <a:pt x="4033679" y="3002786"/>
                  <a:pt x="4062938" y="3000907"/>
                  <a:pt x="4092637" y="3000907"/>
                </a:cubicBezTo>
                <a:close/>
                <a:moveTo>
                  <a:pt x="4092637" y="2016408"/>
                </a:moveTo>
                <a:cubicBezTo>
                  <a:pt x="4473008" y="2016408"/>
                  <a:pt x="4781359" y="2324759"/>
                  <a:pt x="4781359" y="2705130"/>
                </a:cubicBezTo>
                <a:cubicBezTo>
                  <a:pt x="4780893" y="2866848"/>
                  <a:pt x="4780428" y="3028565"/>
                  <a:pt x="4779962" y="3190283"/>
                </a:cubicBezTo>
                <a:cubicBezTo>
                  <a:pt x="4662688" y="2979295"/>
                  <a:pt x="4479139" y="2874345"/>
                  <a:pt x="4389437" y="2854150"/>
                </a:cubicBezTo>
                <a:lnTo>
                  <a:pt x="4389437" y="2681754"/>
                </a:lnTo>
                <a:cubicBezTo>
                  <a:pt x="4389437" y="2517836"/>
                  <a:pt x="4256555" y="2384954"/>
                  <a:pt x="4092637" y="2384954"/>
                </a:cubicBezTo>
                <a:cubicBezTo>
                  <a:pt x="3928719" y="2384954"/>
                  <a:pt x="3795837" y="2517836"/>
                  <a:pt x="3795837" y="2681754"/>
                </a:cubicBezTo>
                <a:lnTo>
                  <a:pt x="3795837" y="3721912"/>
                </a:lnTo>
                <a:cubicBezTo>
                  <a:pt x="3795837" y="3885830"/>
                  <a:pt x="3928719" y="4018712"/>
                  <a:pt x="4092637" y="4018712"/>
                </a:cubicBezTo>
                <a:cubicBezTo>
                  <a:pt x="4123158" y="4018712"/>
                  <a:pt x="4152603" y="4014105"/>
                  <a:pt x="4179887" y="4004166"/>
                </a:cubicBezTo>
                <a:lnTo>
                  <a:pt x="4179887" y="4378463"/>
                </a:lnTo>
                <a:cubicBezTo>
                  <a:pt x="4151595" y="4385379"/>
                  <a:pt x="4122336" y="4387258"/>
                  <a:pt x="4092637" y="4387258"/>
                </a:cubicBezTo>
                <a:cubicBezTo>
                  <a:pt x="3712266" y="4387258"/>
                  <a:pt x="3403915" y="4078907"/>
                  <a:pt x="3403915" y="3698536"/>
                </a:cubicBezTo>
                <a:lnTo>
                  <a:pt x="3403915" y="2705130"/>
                </a:lnTo>
                <a:cubicBezTo>
                  <a:pt x="3403915" y="2324759"/>
                  <a:pt x="3712266" y="2016408"/>
                  <a:pt x="4092637" y="2016408"/>
                </a:cubicBezTo>
                <a:close/>
                <a:moveTo>
                  <a:pt x="138937" y="821099"/>
                </a:moveTo>
                <a:cubicBezTo>
                  <a:pt x="214688" y="821099"/>
                  <a:pt x="276097" y="882508"/>
                  <a:pt x="276097" y="958259"/>
                </a:cubicBezTo>
                <a:cubicBezTo>
                  <a:pt x="275081" y="1628184"/>
                  <a:pt x="252190" y="1939492"/>
                  <a:pt x="273050" y="2968033"/>
                </a:cubicBezTo>
                <a:cubicBezTo>
                  <a:pt x="293910" y="3996574"/>
                  <a:pt x="1516506" y="4371861"/>
                  <a:pt x="2638297" y="4379639"/>
                </a:cubicBezTo>
                <a:cubicBezTo>
                  <a:pt x="2714048" y="4379639"/>
                  <a:pt x="2775457" y="4441048"/>
                  <a:pt x="2775457" y="4516799"/>
                </a:cubicBezTo>
                <a:cubicBezTo>
                  <a:pt x="2775457" y="4592550"/>
                  <a:pt x="2714048" y="4653959"/>
                  <a:pt x="2638297" y="4653959"/>
                </a:cubicBezTo>
                <a:cubicBezTo>
                  <a:pt x="1762040" y="4700002"/>
                  <a:pt x="3926" y="4347572"/>
                  <a:pt x="0" y="2968033"/>
                </a:cubicBezTo>
                <a:lnTo>
                  <a:pt x="1777" y="958259"/>
                </a:lnTo>
                <a:cubicBezTo>
                  <a:pt x="1777" y="882508"/>
                  <a:pt x="63186" y="821099"/>
                  <a:pt x="138937" y="821099"/>
                </a:cubicBezTo>
                <a:close/>
                <a:moveTo>
                  <a:pt x="2644145" y="374057"/>
                </a:moveTo>
                <a:cubicBezTo>
                  <a:pt x="1702165" y="374057"/>
                  <a:pt x="938540" y="635897"/>
                  <a:pt x="938540" y="958893"/>
                </a:cubicBezTo>
                <a:cubicBezTo>
                  <a:pt x="938540" y="1281888"/>
                  <a:pt x="1702165" y="1543728"/>
                  <a:pt x="2644145" y="1543728"/>
                </a:cubicBezTo>
                <a:cubicBezTo>
                  <a:pt x="3586126" y="1543728"/>
                  <a:pt x="4349751" y="1281888"/>
                  <a:pt x="4349751" y="958893"/>
                </a:cubicBezTo>
                <a:cubicBezTo>
                  <a:pt x="4349751" y="635897"/>
                  <a:pt x="3586126" y="374057"/>
                  <a:pt x="2644145" y="374057"/>
                </a:cubicBezTo>
                <a:close/>
                <a:moveTo>
                  <a:pt x="2651760" y="42"/>
                </a:moveTo>
                <a:cubicBezTo>
                  <a:pt x="3369469" y="-3027"/>
                  <a:pt x="4736308" y="156780"/>
                  <a:pt x="4732021" y="1012390"/>
                </a:cubicBezTo>
                <a:lnTo>
                  <a:pt x="4732021" y="2004302"/>
                </a:lnTo>
                <a:cubicBezTo>
                  <a:pt x="4618833" y="1863965"/>
                  <a:pt x="4493898" y="1824231"/>
                  <a:pt x="4354515" y="1776920"/>
                </a:cubicBezTo>
                <a:cubicBezTo>
                  <a:pt x="4353985" y="1643792"/>
                  <a:pt x="4353456" y="1510664"/>
                  <a:pt x="4352926" y="1377536"/>
                </a:cubicBezTo>
                <a:cubicBezTo>
                  <a:pt x="3973377" y="1622477"/>
                  <a:pt x="3341175" y="1780586"/>
                  <a:pt x="2625842" y="1780586"/>
                </a:cubicBezTo>
                <a:cubicBezTo>
                  <a:pt x="1934928" y="1780586"/>
                  <a:pt x="1345379" y="1656898"/>
                  <a:pt x="940923" y="1356874"/>
                </a:cubicBezTo>
                <a:cubicBezTo>
                  <a:pt x="940923" y="1557631"/>
                  <a:pt x="940922" y="1520263"/>
                  <a:pt x="940922" y="1721020"/>
                </a:cubicBezTo>
                <a:cubicBezTo>
                  <a:pt x="1211291" y="2113942"/>
                  <a:pt x="2056392" y="2242735"/>
                  <a:pt x="2625842" y="2239055"/>
                </a:cubicBezTo>
                <a:cubicBezTo>
                  <a:pt x="2828018" y="2237749"/>
                  <a:pt x="3076818" y="2217449"/>
                  <a:pt x="3323742" y="2174033"/>
                </a:cubicBezTo>
                <a:cubicBezTo>
                  <a:pt x="3277313" y="2244766"/>
                  <a:pt x="3243806" y="2323995"/>
                  <a:pt x="3223533" y="2408349"/>
                </a:cubicBezTo>
                <a:cubicBezTo>
                  <a:pt x="3033068" y="2432278"/>
                  <a:pt x="2831268" y="2443833"/>
                  <a:pt x="2622667" y="2443833"/>
                </a:cubicBezTo>
                <a:cubicBezTo>
                  <a:pt x="1931753" y="2443833"/>
                  <a:pt x="1345379" y="2342370"/>
                  <a:pt x="940924" y="2042346"/>
                </a:cubicBezTo>
                <a:cubicBezTo>
                  <a:pt x="940924" y="2243103"/>
                  <a:pt x="934572" y="2234310"/>
                  <a:pt x="934572" y="2435067"/>
                </a:cubicBezTo>
                <a:cubicBezTo>
                  <a:pt x="1204941" y="2827989"/>
                  <a:pt x="2055324" y="2930556"/>
                  <a:pt x="2625843" y="2924527"/>
                </a:cubicBezTo>
                <a:cubicBezTo>
                  <a:pt x="2794126" y="2922749"/>
                  <a:pt x="2993042" y="2908493"/>
                  <a:pt x="3195762" y="2878063"/>
                </a:cubicBezTo>
                <a:lnTo>
                  <a:pt x="3195762" y="3113507"/>
                </a:lnTo>
                <a:cubicBezTo>
                  <a:pt x="3019016" y="3131053"/>
                  <a:pt x="2832295" y="3139158"/>
                  <a:pt x="2638542" y="3139158"/>
                </a:cubicBezTo>
                <a:cubicBezTo>
                  <a:pt x="1947628" y="3139158"/>
                  <a:pt x="1351728" y="3034520"/>
                  <a:pt x="940923" y="2763071"/>
                </a:cubicBezTo>
                <a:cubicBezTo>
                  <a:pt x="940923" y="2963828"/>
                  <a:pt x="940922" y="2869310"/>
                  <a:pt x="940922" y="3070067"/>
                </a:cubicBezTo>
                <a:cubicBezTo>
                  <a:pt x="1128741" y="3577289"/>
                  <a:pt x="2040506" y="3722719"/>
                  <a:pt x="2609967" y="3730977"/>
                </a:cubicBezTo>
                <a:cubicBezTo>
                  <a:pt x="2781546" y="3733465"/>
                  <a:pt x="2986721" y="3712558"/>
                  <a:pt x="3195762" y="3669737"/>
                </a:cubicBezTo>
                <a:lnTo>
                  <a:pt x="3195762" y="3967596"/>
                </a:lnTo>
                <a:cubicBezTo>
                  <a:pt x="3195762" y="4003251"/>
                  <a:pt x="3197898" y="4038407"/>
                  <a:pt x="3202706" y="4072864"/>
                </a:cubicBezTo>
                <a:cubicBezTo>
                  <a:pt x="2997467" y="4098585"/>
                  <a:pt x="2803713" y="4106163"/>
                  <a:pt x="2645569" y="4103095"/>
                </a:cubicBezTo>
                <a:cubicBezTo>
                  <a:pt x="1949133" y="4085414"/>
                  <a:pt x="735171" y="3943909"/>
                  <a:pt x="556260" y="3088028"/>
                </a:cubicBezTo>
                <a:lnTo>
                  <a:pt x="556260" y="1012390"/>
                </a:lnTo>
                <a:cubicBezTo>
                  <a:pt x="562610" y="139585"/>
                  <a:pt x="1934052" y="3111"/>
                  <a:pt x="2651760" y="4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22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7642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6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92500" y="173212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8221" y="1732120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bout Neal Analytics (Company Background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92499" y="2397439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8220" y="2397439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view of Your Current Situation/Objective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92500" y="30627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38221" y="30627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sign Principles and Architecture - Break	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92499" y="372803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55707" y="3728018"/>
            <a:ext cx="11391830" cy="5770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mos –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nA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Maker Bot (OOTB), REI Bot (OOTB), Decision Tree Bot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92499" y="43852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38220" y="43852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&amp;A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92499" y="106680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38220" y="1066800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811823" y="2455152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635492" y="3120431"/>
            <a:ext cx="11945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 min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673818" y="3785751"/>
            <a:ext cx="11737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5 min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669155" y="4442931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811822" y="1789791"/>
            <a:ext cx="10182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 mi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4037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77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5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44551" y="565837"/>
            <a:ext cx="8486899" cy="590931"/>
          </a:xfrm>
        </p:spPr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" name="Rectangle 3"/>
          <p:cNvSpPr/>
          <p:nvPr/>
        </p:nvSpPr>
        <p:spPr>
          <a:xfrm>
            <a:off x="1676400" y="1896939"/>
            <a:ext cx="6096000" cy="2827056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arenR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st </a:t>
            </a:r>
            <a:r>
              <a:rPr lang="en-US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nA</a:t>
            </a: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ker Bot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arenR"/>
            </a:pPr>
            <a:r>
              <a:rPr lang="en-US" sz="11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http://westchatbot.azurewebsites.net/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arenR"/>
            </a:pPr>
            <a:r>
              <a:rPr lang="en-US" sz="11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QnA</a:t>
            </a:r>
            <a:r>
              <a:rPr lang="en-US" sz="11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 Source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arenR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st Basic Bot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arenR"/>
            </a:pPr>
            <a:r>
              <a:rPr lang="en-US" sz="11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9"/>
              </a:rPr>
              <a:t>http://westdemo2017.azurewebsites.net/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arenR"/>
            </a:pPr>
            <a:r>
              <a:rPr lang="en-US" sz="11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/>
              </a:rPr>
              <a:t>Basic Bot Source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arenR"/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st Decision Tree Bot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arenR"/>
            </a:pPr>
            <a:r>
              <a:rPr lang="en-US" sz="11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1"/>
              </a:rPr>
              <a:t>http://westbotprocurement.azurewebsites.net/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arenR"/>
            </a:pPr>
            <a:r>
              <a:rPr lang="en-US" sz="11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2"/>
              </a:rPr>
              <a:t>Decision Tree Bot Resources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85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8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92500" y="173212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8221" y="1732120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bout Neal Analytics (Company Background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92499" y="2397439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8220" y="2397439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view of Your Current Situation/Objective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92500" y="30627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38221" y="30627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sign Principles and Demos - Break	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92499" y="372803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55707" y="37280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mos –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nA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Maker Bot (OOTB), REI Bot (OOTB), Decision Tree Bot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92499" y="43852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38220" y="4385218"/>
            <a:ext cx="11391830" cy="5770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&amp;A</a:t>
            </a:r>
          </a:p>
        </p:txBody>
      </p:sp>
      <p:sp>
        <p:nvSpPr>
          <p:cNvPr id="62" name="Rectangle 61"/>
          <p:cNvSpPr/>
          <p:nvPr/>
        </p:nvSpPr>
        <p:spPr>
          <a:xfrm>
            <a:off x="392499" y="106680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38220" y="1066800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811823" y="2455152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635492" y="3120431"/>
            <a:ext cx="11945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 min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673818" y="3785751"/>
            <a:ext cx="11737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5 min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669155" y="4442931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811822" y="1789791"/>
            <a:ext cx="10182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 mi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281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740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3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Neal Analytics Different?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23925" y="1619319"/>
            <a:ext cx="3305174" cy="4133712"/>
            <a:chOff x="2159398" y="2521008"/>
            <a:chExt cx="1183877" cy="1480652"/>
          </a:xfrm>
        </p:grpSpPr>
        <p:sp>
          <p:nvSpPr>
            <p:cNvPr id="12" name="Freeform 11"/>
            <p:cNvSpPr/>
            <p:nvPr/>
          </p:nvSpPr>
          <p:spPr>
            <a:xfrm>
              <a:off x="2490955" y="2950903"/>
              <a:ext cx="852320" cy="1050757"/>
            </a:xfrm>
            <a:custGeom>
              <a:avLst/>
              <a:gdLst>
                <a:gd name="connsiteX0" fmla="*/ 1287892 w 4936948"/>
                <a:gd name="connsiteY0" fmla="*/ 3883226 h 6088619"/>
                <a:gd name="connsiteX1" fmla="*/ 3646531 w 4936948"/>
                <a:gd name="connsiteY1" fmla="*/ 3883226 h 6088619"/>
                <a:gd name="connsiteX2" fmla="*/ 4486186 w 4936948"/>
                <a:gd name="connsiteY2" fmla="*/ 5373666 h 6088619"/>
                <a:gd name="connsiteX3" fmla="*/ 4278920 w 4936948"/>
                <a:gd name="connsiteY3" fmla="*/ 5737663 h 6088619"/>
                <a:gd name="connsiteX4" fmla="*/ 664049 w 4936948"/>
                <a:gd name="connsiteY4" fmla="*/ 5737663 h 6088619"/>
                <a:gd name="connsiteX5" fmla="*/ 463341 w 4936948"/>
                <a:gd name="connsiteY5" fmla="*/ 5344557 h 6088619"/>
                <a:gd name="connsiteX6" fmla="*/ 1287892 w 4936948"/>
                <a:gd name="connsiteY6" fmla="*/ 3883226 h 6088619"/>
                <a:gd name="connsiteX7" fmla="*/ 2235111 w 4936948"/>
                <a:gd name="connsiteY7" fmla="*/ 3414691 h 6088619"/>
                <a:gd name="connsiteX8" fmla="*/ 2701835 w 4936948"/>
                <a:gd name="connsiteY8" fmla="*/ 3414691 h 6088619"/>
                <a:gd name="connsiteX9" fmla="*/ 2806610 w 4936948"/>
                <a:gd name="connsiteY9" fmla="*/ 3519466 h 6088619"/>
                <a:gd name="connsiteX10" fmla="*/ 2701835 w 4936948"/>
                <a:gd name="connsiteY10" fmla="*/ 3624241 h 6088619"/>
                <a:gd name="connsiteX11" fmla="*/ 2235111 w 4936948"/>
                <a:gd name="connsiteY11" fmla="*/ 3624241 h 6088619"/>
                <a:gd name="connsiteX12" fmla="*/ 2130336 w 4936948"/>
                <a:gd name="connsiteY12" fmla="*/ 3519466 h 6088619"/>
                <a:gd name="connsiteX13" fmla="*/ 2235111 w 4936948"/>
                <a:gd name="connsiteY13" fmla="*/ 3414691 h 6088619"/>
                <a:gd name="connsiteX14" fmla="*/ 2323757 w 4936948"/>
                <a:gd name="connsiteY14" fmla="*/ 2983062 h 6088619"/>
                <a:gd name="connsiteX15" fmla="*/ 2613189 w 4936948"/>
                <a:gd name="connsiteY15" fmla="*/ 2983062 h 6088619"/>
                <a:gd name="connsiteX16" fmla="*/ 2695485 w 4936948"/>
                <a:gd name="connsiteY16" fmla="*/ 3065358 h 6088619"/>
                <a:gd name="connsiteX17" fmla="*/ 2613189 w 4936948"/>
                <a:gd name="connsiteY17" fmla="*/ 3147654 h 6088619"/>
                <a:gd name="connsiteX18" fmla="*/ 2323757 w 4936948"/>
                <a:gd name="connsiteY18" fmla="*/ 3147654 h 6088619"/>
                <a:gd name="connsiteX19" fmla="*/ 2241461 w 4936948"/>
                <a:gd name="connsiteY19" fmla="*/ 3065358 h 6088619"/>
                <a:gd name="connsiteX20" fmla="*/ 2323757 w 4936948"/>
                <a:gd name="connsiteY20" fmla="*/ 2983062 h 6088619"/>
                <a:gd name="connsiteX21" fmla="*/ 2323757 w 4936948"/>
                <a:gd name="connsiteY21" fmla="*/ 2551431 h 6088619"/>
                <a:gd name="connsiteX22" fmla="*/ 2613189 w 4936948"/>
                <a:gd name="connsiteY22" fmla="*/ 2551431 h 6088619"/>
                <a:gd name="connsiteX23" fmla="*/ 2695485 w 4936948"/>
                <a:gd name="connsiteY23" fmla="*/ 2633727 h 6088619"/>
                <a:gd name="connsiteX24" fmla="*/ 2613189 w 4936948"/>
                <a:gd name="connsiteY24" fmla="*/ 2716023 h 6088619"/>
                <a:gd name="connsiteX25" fmla="*/ 2323757 w 4936948"/>
                <a:gd name="connsiteY25" fmla="*/ 2716023 h 6088619"/>
                <a:gd name="connsiteX26" fmla="*/ 2241461 w 4936948"/>
                <a:gd name="connsiteY26" fmla="*/ 2633727 h 6088619"/>
                <a:gd name="connsiteX27" fmla="*/ 2323757 w 4936948"/>
                <a:gd name="connsiteY27" fmla="*/ 2551431 h 6088619"/>
                <a:gd name="connsiteX28" fmla="*/ 2235111 w 4936948"/>
                <a:gd name="connsiteY28" fmla="*/ 2074842 h 6088619"/>
                <a:gd name="connsiteX29" fmla="*/ 2701835 w 4936948"/>
                <a:gd name="connsiteY29" fmla="*/ 2074842 h 6088619"/>
                <a:gd name="connsiteX30" fmla="*/ 2806610 w 4936948"/>
                <a:gd name="connsiteY30" fmla="*/ 2179617 h 6088619"/>
                <a:gd name="connsiteX31" fmla="*/ 2701835 w 4936948"/>
                <a:gd name="connsiteY31" fmla="*/ 2284392 h 6088619"/>
                <a:gd name="connsiteX32" fmla="*/ 2235111 w 4936948"/>
                <a:gd name="connsiteY32" fmla="*/ 2284392 h 6088619"/>
                <a:gd name="connsiteX33" fmla="*/ 2130336 w 4936948"/>
                <a:gd name="connsiteY33" fmla="*/ 2179617 h 6088619"/>
                <a:gd name="connsiteX34" fmla="*/ 2235111 w 4936948"/>
                <a:gd name="connsiteY34" fmla="*/ 2074842 h 6088619"/>
                <a:gd name="connsiteX35" fmla="*/ 2323757 w 4936948"/>
                <a:gd name="connsiteY35" fmla="*/ 1643211 h 6088619"/>
                <a:gd name="connsiteX36" fmla="*/ 2613189 w 4936948"/>
                <a:gd name="connsiteY36" fmla="*/ 1643211 h 6088619"/>
                <a:gd name="connsiteX37" fmla="*/ 2695485 w 4936948"/>
                <a:gd name="connsiteY37" fmla="*/ 1725507 h 6088619"/>
                <a:gd name="connsiteX38" fmla="*/ 2613189 w 4936948"/>
                <a:gd name="connsiteY38" fmla="*/ 1807803 h 6088619"/>
                <a:gd name="connsiteX39" fmla="*/ 2323757 w 4936948"/>
                <a:gd name="connsiteY39" fmla="*/ 1807803 h 6088619"/>
                <a:gd name="connsiteX40" fmla="*/ 2241461 w 4936948"/>
                <a:gd name="connsiteY40" fmla="*/ 1725507 h 6088619"/>
                <a:gd name="connsiteX41" fmla="*/ 2323757 w 4936948"/>
                <a:gd name="connsiteY41" fmla="*/ 1643211 h 6088619"/>
                <a:gd name="connsiteX42" fmla="*/ 2323757 w 4936948"/>
                <a:gd name="connsiteY42" fmla="*/ 1211580 h 6088619"/>
                <a:gd name="connsiteX43" fmla="*/ 2613189 w 4936948"/>
                <a:gd name="connsiteY43" fmla="*/ 1211580 h 6088619"/>
                <a:gd name="connsiteX44" fmla="*/ 2695485 w 4936948"/>
                <a:gd name="connsiteY44" fmla="*/ 1293876 h 6088619"/>
                <a:gd name="connsiteX45" fmla="*/ 2613189 w 4936948"/>
                <a:gd name="connsiteY45" fmla="*/ 1376172 h 6088619"/>
                <a:gd name="connsiteX46" fmla="*/ 2323757 w 4936948"/>
                <a:gd name="connsiteY46" fmla="*/ 1376172 h 6088619"/>
                <a:gd name="connsiteX47" fmla="*/ 2241461 w 4936948"/>
                <a:gd name="connsiteY47" fmla="*/ 1293876 h 6088619"/>
                <a:gd name="connsiteX48" fmla="*/ 2323757 w 4936948"/>
                <a:gd name="connsiteY48" fmla="*/ 1211580 h 6088619"/>
                <a:gd name="connsiteX49" fmla="*/ 2235111 w 4936948"/>
                <a:gd name="connsiteY49" fmla="*/ 734991 h 6088619"/>
                <a:gd name="connsiteX50" fmla="*/ 2701835 w 4936948"/>
                <a:gd name="connsiteY50" fmla="*/ 734991 h 6088619"/>
                <a:gd name="connsiteX51" fmla="*/ 2806610 w 4936948"/>
                <a:gd name="connsiteY51" fmla="*/ 839766 h 6088619"/>
                <a:gd name="connsiteX52" fmla="*/ 2701835 w 4936948"/>
                <a:gd name="connsiteY52" fmla="*/ 944541 h 6088619"/>
                <a:gd name="connsiteX53" fmla="*/ 2235111 w 4936948"/>
                <a:gd name="connsiteY53" fmla="*/ 944541 h 6088619"/>
                <a:gd name="connsiteX54" fmla="*/ 2130336 w 4936948"/>
                <a:gd name="connsiteY54" fmla="*/ 839766 h 6088619"/>
                <a:gd name="connsiteX55" fmla="*/ 2235111 w 4936948"/>
                <a:gd name="connsiteY55" fmla="*/ 734991 h 6088619"/>
                <a:gd name="connsiteX56" fmla="*/ 1781418 w 4936948"/>
                <a:gd name="connsiteY56" fmla="*/ 123076 h 6088619"/>
                <a:gd name="connsiteX57" fmla="*/ 1705869 w 4936948"/>
                <a:gd name="connsiteY57" fmla="*/ 471472 h 6088619"/>
                <a:gd name="connsiteX58" fmla="*/ 1878096 w 4936948"/>
                <a:gd name="connsiteY58" fmla="*/ 892464 h 6088619"/>
                <a:gd name="connsiteX59" fmla="*/ 1884260 w 4936948"/>
                <a:gd name="connsiteY59" fmla="*/ 2288110 h 6088619"/>
                <a:gd name="connsiteX60" fmla="*/ 384960 w 4936948"/>
                <a:gd name="connsiteY60" fmla="*/ 5001559 h 6088619"/>
                <a:gd name="connsiteX61" fmla="*/ 159746 w 4936948"/>
                <a:gd name="connsiteY61" fmla="*/ 5387226 h 6088619"/>
                <a:gd name="connsiteX62" fmla="*/ 681852 w 4936948"/>
                <a:gd name="connsiteY62" fmla="*/ 5968399 h 6088619"/>
                <a:gd name="connsiteX63" fmla="*/ 4255097 w 4936948"/>
                <a:gd name="connsiteY63" fmla="*/ 5968399 h 6088619"/>
                <a:gd name="connsiteX64" fmla="*/ 4789903 w 4936948"/>
                <a:gd name="connsiteY64" fmla="*/ 5488827 h 6088619"/>
                <a:gd name="connsiteX65" fmla="*/ 4534367 w 4936948"/>
                <a:gd name="connsiteY65" fmla="*/ 4965112 h 6088619"/>
                <a:gd name="connsiteX66" fmla="*/ 3049867 w 4936948"/>
                <a:gd name="connsiteY66" fmla="*/ 2296025 h 6088619"/>
                <a:gd name="connsiteX67" fmla="*/ 3056217 w 4936948"/>
                <a:gd name="connsiteY67" fmla="*/ 904563 h 6088619"/>
                <a:gd name="connsiteX68" fmla="*/ 3208077 w 4936948"/>
                <a:gd name="connsiteY68" fmla="*/ 489069 h 6088619"/>
                <a:gd name="connsiteX69" fmla="*/ 3160966 w 4936948"/>
                <a:gd name="connsiteY69" fmla="*/ 123076 h 6088619"/>
                <a:gd name="connsiteX70" fmla="*/ 1781418 w 4936948"/>
                <a:gd name="connsiteY70" fmla="*/ 123076 h 6088619"/>
                <a:gd name="connsiteX71" fmla="*/ 1635633 w 4936948"/>
                <a:gd name="connsiteY71" fmla="*/ 14816 h 6088619"/>
                <a:gd name="connsiteX72" fmla="*/ 3299987 w 4936948"/>
                <a:gd name="connsiteY72" fmla="*/ 14816 h 6088619"/>
                <a:gd name="connsiteX73" fmla="*/ 3373067 w 4936948"/>
                <a:gd name="connsiteY73" fmla="*/ 507636 h 6088619"/>
                <a:gd name="connsiteX74" fmla="*/ 3176514 w 4936948"/>
                <a:gd name="connsiteY74" fmla="*/ 875105 h 6088619"/>
                <a:gd name="connsiteX75" fmla="*/ 3176514 w 4936948"/>
                <a:gd name="connsiteY75" fmla="*/ 2268070 h 6088619"/>
                <a:gd name="connsiteX76" fmla="*/ 4731051 w 4936948"/>
                <a:gd name="connsiteY76" fmla="*/ 5067745 h 6088619"/>
                <a:gd name="connsiteX77" fmla="*/ 4933754 w 4936948"/>
                <a:gd name="connsiteY77" fmla="*/ 5432808 h 6088619"/>
                <a:gd name="connsiteX78" fmla="*/ 4936948 w 4936948"/>
                <a:gd name="connsiteY78" fmla="*/ 5438560 h 6088619"/>
                <a:gd name="connsiteX79" fmla="*/ 4936947 w 4936948"/>
                <a:gd name="connsiteY79" fmla="*/ 5464482 h 6088619"/>
                <a:gd name="connsiteX80" fmla="*/ 4936947 w 4936948"/>
                <a:gd name="connsiteY80" fmla="*/ 5601223 h 6088619"/>
                <a:gd name="connsiteX81" fmla="*/ 4449551 w 4936948"/>
                <a:gd name="connsiteY81" fmla="*/ 6088619 h 6088619"/>
                <a:gd name="connsiteX82" fmla="*/ 487396 w 4936948"/>
                <a:gd name="connsiteY82" fmla="*/ 6088619 h 6088619"/>
                <a:gd name="connsiteX83" fmla="*/ 0 w 4936948"/>
                <a:gd name="connsiteY83" fmla="*/ 5601223 h 6088619"/>
                <a:gd name="connsiteX84" fmla="*/ 0 w 4936948"/>
                <a:gd name="connsiteY84" fmla="*/ 5540880 h 6088619"/>
                <a:gd name="connsiteX85" fmla="*/ 0 w 4936948"/>
                <a:gd name="connsiteY85" fmla="*/ 5503466 h 6088619"/>
                <a:gd name="connsiteX86" fmla="*/ 196095 w 4936948"/>
                <a:gd name="connsiteY86" fmla="*/ 5070356 h 6088619"/>
                <a:gd name="connsiteX87" fmla="*/ 1766458 w 4936948"/>
                <a:gd name="connsiteY87" fmla="*/ 2285162 h 6088619"/>
                <a:gd name="connsiteX88" fmla="*/ 1766458 w 4936948"/>
                <a:gd name="connsiteY88" fmla="*/ 994747 h 6088619"/>
                <a:gd name="connsiteX89" fmla="*/ 1518630 w 4936948"/>
                <a:gd name="connsiteY89" fmla="*/ 439270 h 6088619"/>
                <a:gd name="connsiteX90" fmla="*/ 1635633 w 4936948"/>
                <a:gd name="connsiteY90" fmla="*/ 14816 h 6088619"/>
                <a:gd name="connsiteX0" fmla="*/ 1287892 w 4936948"/>
                <a:gd name="connsiteY0" fmla="*/ 3889988 h 6095381"/>
                <a:gd name="connsiteX1" fmla="*/ 3646531 w 4936948"/>
                <a:gd name="connsiteY1" fmla="*/ 3889988 h 6095381"/>
                <a:gd name="connsiteX2" fmla="*/ 4486186 w 4936948"/>
                <a:gd name="connsiteY2" fmla="*/ 5380428 h 6095381"/>
                <a:gd name="connsiteX3" fmla="*/ 4278920 w 4936948"/>
                <a:gd name="connsiteY3" fmla="*/ 5744425 h 6095381"/>
                <a:gd name="connsiteX4" fmla="*/ 664049 w 4936948"/>
                <a:gd name="connsiteY4" fmla="*/ 5744425 h 6095381"/>
                <a:gd name="connsiteX5" fmla="*/ 463341 w 4936948"/>
                <a:gd name="connsiteY5" fmla="*/ 5351319 h 6095381"/>
                <a:gd name="connsiteX6" fmla="*/ 1287892 w 4936948"/>
                <a:gd name="connsiteY6" fmla="*/ 3889988 h 6095381"/>
                <a:gd name="connsiteX7" fmla="*/ 2235111 w 4936948"/>
                <a:gd name="connsiteY7" fmla="*/ 3421453 h 6095381"/>
                <a:gd name="connsiteX8" fmla="*/ 2701835 w 4936948"/>
                <a:gd name="connsiteY8" fmla="*/ 3421453 h 6095381"/>
                <a:gd name="connsiteX9" fmla="*/ 2806610 w 4936948"/>
                <a:gd name="connsiteY9" fmla="*/ 3526228 h 6095381"/>
                <a:gd name="connsiteX10" fmla="*/ 2701835 w 4936948"/>
                <a:gd name="connsiteY10" fmla="*/ 3631003 h 6095381"/>
                <a:gd name="connsiteX11" fmla="*/ 2235111 w 4936948"/>
                <a:gd name="connsiteY11" fmla="*/ 3631003 h 6095381"/>
                <a:gd name="connsiteX12" fmla="*/ 2130336 w 4936948"/>
                <a:gd name="connsiteY12" fmla="*/ 3526228 h 6095381"/>
                <a:gd name="connsiteX13" fmla="*/ 2235111 w 4936948"/>
                <a:gd name="connsiteY13" fmla="*/ 3421453 h 6095381"/>
                <a:gd name="connsiteX14" fmla="*/ 2323757 w 4936948"/>
                <a:gd name="connsiteY14" fmla="*/ 2989824 h 6095381"/>
                <a:gd name="connsiteX15" fmla="*/ 2613189 w 4936948"/>
                <a:gd name="connsiteY15" fmla="*/ 2989824 h 6095381"/>
                <a:gd name="connsiteX16" fmla="*/ 2695485 w 4936948"/>
                <a:gd name="connsiteY16" fmla="*/ 3072120 h 6095381"/>
                <a:gd name="connsiteX17" fmla="*/ 2613189 w 4936948"/>
                <a:gd name="connsiteY17" fmla="*/ 3154416 h 6095381"/>
                <a:gd name="connsiteX18" fmla="*/ 2323757 w 4936948"/>
                <a:gd name="connsiteY18" fmla="*/ 3154416 h 6095381"/>
                <a:gd name="connsiteX19" fmla="*/ 2241461 w 4936948"/>
                <a:gd name="connsiteY19" fmla="*/ 3072120 h 6095381"/>
                <a:gd name="connsiteX20" fmla="*/ 2323757 w 4936948"/>
                <a:gd name="connsiteY20" fmla="*/ 2989824 h 6095381"/>
                <a:gd name="connsiteX21" fmla="*/ 2323757 w 4936948"/>
                <a:gd name="connsiteY21" fmla="*/ 2558193 h 6095381"/>
                <a:gd name="connsiteX22" fmla="*/ 2613189 w 4936948"/>
                <a:gd name="connsiteY22" fmla="*/ 2558193 h 6095381"/>
                <a:gd name="connsiteX23" fmla="*/ 2695485 w 4936948"/>
                <a:gd name="connsiteY23" fmla="*/ 2640489 h 6095381"/>
                <a:gd name="connsiteX24" fmla="*/ 2613189 w 4936948"/>
                <a:gd name="connsiteY24" fmla="*/ 2722785 h 6095381"/>
                <a:gd name="connsiteX25" fmla="*/ 2323757 w 4936948"/>
                <a:gd name="connsiteY25" fmla="*/ 2722785 h 6095381"/>
                <a:gd name="connsiteX26" fmla="*/ 2241461 w 4936948"/>
                <a:gd name="connsiteY26" fmla="*/ 2640489 h 6095381"/>
                <a:gd name="connsiteX27" fmla="*/ 2323757 w 4936948"/>
                <a:gd name="connsiteY27" fmla="*/ 2558193 h 6095381"/>
                <a:gd name="connsiteX28" fmla="*/ 2235111 w 4936948"/>
                <a:gd name="connsiteY28" fmla="*/ 2081604 h 6095381"/>
                <a:gd name="connsiteX29" fmla="*/ 2701835 w 4936948"/>
                <a:gd name="connsiteY29" fmla="*/ 2081604 h 6095381"/>
                <a:gd name="connsiteX30" fmla="*/ 2806610 w 4936948"/>
                <a:gd name="connsiteY30" fmla="*/ 2186379 h 6095381"/>
                <a:gd name="connsiteX31" fmla="*/ 2701835 w 4936948"/>
                <a:gd name="connsiteY31" fmla="*/ 2291154 h 6095381"/>
                <a:gd name="connsiteX32" fmla="*/ 2235111 w 4936948"/>
                <a:gd name="connsiteY32" fmla="*/ 2291154 h 6095381"/>
                <a:gd name="connsiteX33" fmla="*/ 2130336 w 4936948"/>
                <a:gd name="connsiteY33" fmla="*/ 2186379 h 6095381"/>
                <a:gd name="connsiteX34" fmla="*/ 2235111 w 4936948"/>
                <a:gd name="connsiteY34" fmla="*/ 2081604 h 6095381"/>
                <a:gd name="connsiteX35" fmla="*/ 2323757 w 4936948"/>
                <a:gd name="connsiteY35" fmla="*/ 1649973 h 6095381"/>
                <a:gd name="connsiteX36" fmla="*/ 2613189 w 4936948"/>
                <a:gd name="connsiteY36" fmla="*/ 1649973 h 6095381"/>
                <a:gd name="connsiteX37" fmla="*/ 2695485 w 4936948"/>
                <a:gd name="connsiteY37" fmla="*/ 1732269 h 6095381"/>
                <a:gd name="connsiteX38" fmla="*/ 2613189 w 4936948"/>
                <a:gd name="connsiteY38" fmla="*/ 1814565 h 6095381"/>
                <a:gd name="connsiteX39" fmla="*/ 2323757 w 4936948"/>
                <a:gd name="connsiteY39" fmla="*/ 1814565 h 6095381"/>
                <a:gd name="connsiteX40" fmla="*/ 2241461 w 4936948"/>
                <a:gd name="connsiteY40" fmla="*/ 1732269 h 6095381"/>
                <a:gd name="connsiteX41" fmla="*/ 2323757 w 4936948"/>
                <a:gd name="connsiteY41" fmla="*/ 1649973 h 6095381"/>
                <a:gd name="connsiteX42" fmla="*/ 2323757 w 4936948"/>
                <a:gd name="connsiteY42" fmla="*/ 1218342 h 6095381"/>
                <a:gd name="connsiteX43" fmla="*/ 2613189 w 4936948"/>
                <a:gd name="connsiteY43" fmla="*/ 1218342 h 6095381"/>
                <a:gd name="connsiteX44" fmla="*/ 2695485 w 4936948"/>
                <a:gd name="connsiteY44" fmla="*/ 1300638 h 6095381"/>
                <a:gd name="connsiteX45" fmla="*/ 2613189 w 4936948"/>
                <a:gd name="connsiteY45" fmla="*/ 1382934 h 6095381"/>
                <a:gd name="connsiteX46" fmla="*/ 2323757 w 4936948"/>
                <a:gd name="connsiteY46" fmla="*/ 1382934 h 6095381"/>
                <a:gd name="connsiteX47" fmla="*/ 2241461 w 4936948"/>
                <a:gd name="connsiteY47" fmla="*/ 1300638 h 6095381"/>
                <a:gd name="connsiteX48" fmla="*/ 2323757 w 4936948"/>
                <a:gd name="connsiteY48" fmla="*/ 1218342 h 6095381"/>
                <a:gd name="connsiteX49" fmla="*/ 2235111 w 4936948"/>
                <a:gd name="connsiteY49" fmla="*/ 741753 h 6095381"/>
                <a:gd name="connsiteX50" fmla="*/ 2701835 w 4936948"/>
                <a:gd name="connsiteY50" fmla="*/ 741753 h 6095381"/>
                <a:gd name="connsiteX51" fmla="*/ 2806610 w 4936948"/>
                <a:gd name="connsiteY51" fmla="*/ 846528 h 6095381"/>
                <a:gd name="connsiteX52" fmla="*/ 2701835 w 4936948"/>
                <a:gd name="connsiteY52" fmla="*/ 951303 h 6095381"/>
                <a:gd name="connsiteX53" fmla="*/ 2235111 w 4936948"/>
                <a:gd name="connsiteY53" fmla="*/ 951303 h 6095381"/>
                <a:gd name="connsiteX54" fmla="*/ 2130336 w 4936948"/>
                <a:gd name="connsiteY54" fmla="*/ 846528 h 6095381"/>
                <a:gd name="connsiteX55" fmla="*/ 2235111 w 4936948"/>
                <a:gd name="connsiteY55" fmla="*/ 741753 h 6095381"/>
                <a:gd name="connsiteX56" fmla="*/ 1781418 w 4936948"/>
                <a:gd name="connsiteY56" fmla="*/ 129838 h 6095381"/>
                <a:gd name="connsiteX57" fmla="*/ 1705869 w 4936948"/>
                <a:gd name="connsiteY57" fmla="*/ 478234 h 6095381"/>
                <a:gd name="connsiteX58" fmla="*/ 1878096 w 4936948"/>
                <a:gd name="connsiteY58" fmla="*/ 899226 h 6095381"/>
                <a:gd name="connsiteX59" fmla="*/ 1884260 w 4936948"/>
                <a:gd name="connsiteY59" fmla="*/ 2294872 h 6095381"/>
                <a:gd name="connsiteX60" fmla="*/ 384960 w 4936948"/>
                <a:gd name="connsiteY60" fmla="*/ 5008321 h 6095381"/>
                <a:gd name="connsiteX61" fmla="*/ 159746 w 4936948"/>
                <a:gd name="connsiteY61" fmla="*/ 5393988 h 6095381"/>
                <a:gd name="connsiteX62" fmla="*/ 681852 w 4936948"/>
                <a:gd name="connsiteY62" fmla="*/ 5975161 h 6095381"/>
                <a:gd name="connsiteX63" fmla="*/ 4255097 w 4936948"/>
                <a:gd name="connsiteY63" fmla="*/ 5975161 h 6095381"/>
                <a:gd name="connsiteX64" fmla="*/ 4789903 w 4936948"/>
                <a:gd name="connsiteY64" fmla="*/ 5495589 h 6095381"/>
                <a:gd name="connsiteX65" fmla="*/ 4534367 w 4936948"/>
                <a:gd name="connsiteY65" fmla="*/ 4971874 h 6095381"/>
                <a:gd name="connsiteX66" fmla="*/ 3049867 w 4936948"/>
                <a:gd name="connsiteY66" fmla="*/ 2302787 h 6095381"/>
                <a:gd name="connsiteX67" fmla="*/ 3056217 w 4936948"/>
                <a:gd name="connsiteY67" fmla="*/ 911325 h 6095381"/>
                <a:gd name="connsiteX68" fmla="*/ 3208077 w 4936948"/>
                <a:gd name="connsiteY68" fmla="*/ 495831 h 6095381"/>
                <a:gd name="connsiteX69" fmla="*/ 3160966 w 4936948"/>
                <a:gd name="connsiteY69" fmla="*/ 129838 h 6095381"/>
                <a:gd name="connsiteX70" fmla="*/ 1781418 w 4936948"/>
                <a:gd name="connsiteY70" fmla="*/ 129838 h 6095381"/>
                <a:gd name="connsiteX71" fmla="*/ 1635633 w 4936948"/>
                <a:gd name="connsiteY71" fmla="*/ 21578 h 6095381"/>
                <a:gd name="connsiteX72" fmla="*/ 3299987 w 4936948"/>
                <a:gd name="connsiteY72" fmla="*/ 21578 h 6095381"/>
                <a:gd name="connsiteX73" fmla="*/ 3373067 w 4936948"/>
                <a:gd name="connsiteY73" fmla="*/ 514398 h 6095381"/>
                <a:gd name="connsiteX74" fmla="*/ 3176514 w 4936948"/>
                <a:gd name="connsiteY74" fmla="*/ 881867 h 6095381"/>
                <a:gd name="connsiteX75" fmla="*/ 3176514 w 4936948"/>
                <a:gd name="connsiteY75" fmla="*/ 2274832 h 6095381"/>
                <a:gd name="connsiteX76" fmla="*/ 4731051 w 4936948"/>
                <a:gd name="connsiteY76" fmla="*/ 5074507 h 6095381"/>
                <a:gd name="connsiteX77" fmla="*/ 4933754 w 4936948"/>
                <a:gd name="connsiteY77" fmla="*/ 5439570 h 6095381"/>
                <a:gd name="connsiteX78" fmla="*/ 4936948 w 4936948"/>
                <a:gd name="connsiteY78" fmla="*/ 5445322 h 6095381"/>
                <a:gd name="connsiteX79" fmla="*/ 4936947 w 4936948"/>
                <a:gd name="connsiteY79" fmla="*/ 5471244 h 6095381"/>
                <a:gd name="connsiteX80" fmla="*/ 4936947 w 4936948"/>
                <a:gd name="connsiteY80" fmla="*/ 5607985 h 6095381"/>
                <a:gd name="connsiteX81" fmla="*/ 4449551 w 4936948"/>
                <a:gd name="connsiteY81" fmla="*/ 6095381 h 6095381"/>
                <a:gd name="connsiteX82" fmla="*/ 487396 w 4936948"/>
                <a:gd name="connsiteY82" fmla="*/ 6095381 h 6095381"/>
                <a:gd name="connsiteX83" fmla="*/ 0 w 4936948"/>
                <a:gd name="connsiteY83" fmla="*/ 5607985 h 6095381"/>
                <a:gd name="connsiteX84" fmla="*/ 0 w 4936948"/>
                <a:gd name="connsiteY84" fmla="*/ 5547642 h 6095381"/>
                <a:gd name="connsiteX85" fmla="*/ 0 w 4936948"/>
                <a:gd name="connsiteY85" fmla="*/ 5510228 h 6095381"/>
                <a:gd name="connsiteX86" fmla="*/ 196095 w 4936948"/>
                <a:gd name="connsiteY86" fmla="*/ 5077118 h 6095381"/>
                <a:gd name="connsiteX87" fmla="*/ 1766458 w 4936948"/>
                <a:gd name="connsiteY87" fmla="*/ 2291924 h 6095381"/>
                <a:gd name="connsiteX88" fmla="*/ 1766458 w 4936948"/>
                <a:gd name="connsiteY88" fmla="*/ 1001509 h 6095381"/>
                <a:gd name="connsiteX89" fmla="*/ 1518630 w 4936948"/>
                <a:gd name="connsiteY89" fmla="*/ 446032 h 6095381"/>
                <a:gd name="connsiteX90" fmla="*/ 1635633 w 4936948"/>
                <a:gd name="connsiteY90" fmla="*/ 21578 h 6095381"/>
                <a:gd name="connsiteX0" fmla="*/ 1287892 w 4936948"/>
                <a:gd name="connsiteY0" fmla="*/ 3889988 h 6095381"/>
                <a:gd name="connsiteX1" fmla="*/ 3646531 w 4936948"/>
                <a:gd name="connsiteY1" fmla="*/ 3889988 h 6095381"/>
                <a:gd name="connsiteX2" fmla="*/ 4486186 w 4936948"/>
                <a:gd name="connsiteY2" fmla="*/ 5380428 h 6095381"/>
                <a:gd name="connsiteX3" fmla="*/ 4278920 w 4936948"/>
                <a:gd name="connsiteY3" fmla="*/ 5744425 h 6095381"/>
                <a:gd name="connsiteX4" fmla="*/ 664049 w 4936948"/>
                <a:gd name="connsiteY4" fmla="*/ 5744425 h 6095381"/>
                <a:gd name="connsiteX5" fmla="*/ 463341 w 4936948"/>
                <a:gd name="connsiteY5" fmla="*/ 5351319 h 6095381"/>
                <a:gd name="connsiteX6" fmla="*/ 1287892 w 4936948"/>
                <a:gd name="connsiteY6" fmla="*/ 3889988 h 6095381"/>
                <a:gd name="connsiteX7" fmla="*/ 2235111 w 4936948"/>
                <a:gd name="connsiteY7" fmla="*/ 3421453 h 6095381"/>
                <a:gd name="connsiteX8" fmla="*/ 2701835 w 4936948"/>
                <a:gd name="connsiteY8" fmla="*/ 3421453 h 6095381"/>
                <a:gd name="connsiteX9" fmla="*/ 2806610 w 4936948"/>
                <a:gd name="connsiteY9" fmla="*/ 3526228 h 6095381"/>
                <a:gd name="connsiteX10" fmla="*/ 2701835 w 4936948"/>
                <a:gd name="connsiteY10" fmla="*/ 3631003 h 6095381"/>
                <a:gd name="connsiteX11" fmla="*/ 2235111 w 4936948"/>
                <a:gd name="connsiteY11" fmla="*/ 3631003 h 6095381"/>
                <a:gd name="connsiteX12" fmla="*/ 2130336 w 4936948"/>
                <a:gd name="connsiteY12" fmla="*/ 3526228 h 6095381"/>
                <a:gd name="connsiteX13" fmla="*/ 2235111 w 4936948"/>
                <a:gd name="connsiteY13" fmla="*/ 3421453 h 6095381"/>
                <a:gd name="connsiteX14" fmla="*/ 2323757 w 4936948"/>
                <a:gd name="connsiteY14" fmla="*/ 2989824 h 6095381"/>
                <a:gd name="connsiteX15" fmla="*/ 2613189 w 4936948"/>
                <a:gd name="connsiteY15" fmla="*/ 2989824 h 6095381"/>
                <a:gd name="connsiteX16" fmla="*/ 2695485 w 4936948"/>
                <a:gd name="connsiteY16" fmla="*/ 3072120 h 6095381"/>
                <a:gd name="connsiteX17" fmla="*/ 2613189 w 4936948"/>
                <a:gd name="connsiteY17" fmla="*/ 3154416 h 6095381"/>
                <a:gd name="connsiteX18" fmla="*/ 2323757 w 4936948"/>
                <a:gd name="connsiteY18" fmla="*/ 3154416 h 6095381"/>
                <a:gd name="connsiteX19" fmla="*/ 2241461 w 4936948"/>
                <a:gd name="connsiteY19" fmla="*/ 3072120 h 6095381"/>
                <a:gd name="connsiteX20" fmla="*/ 2323757 w 4936948"/>
                <a:gd name="connsiteY20" fmla="*/ 2989824 h 6095381"/>
                <a:gd name="connsiteX21" fmla="*/ 2323757 w 4936948"/>
                <a:gd name="connsiteY21" fmla="*/ 2558193 h 6095381"/>
                <a:gd name="connsiteX22" fmla="*/ 2613189 w 4936948"/>
                <a:gd name="connsiteY22" fmla="*/ 2558193 h 6095381"/>
                <a:gd name="connsiteX23" fmla="*/ 2695485 w 4936948"/>
                <a:gd name="connsiteY23" fmla="*/ 2640489 h 6095381"/>
                <a:gd name="connsiteX24" fmla="*/ 2613189 w 4936948"/>
                <a:gd name="connsiteY24" fmla="*/ 2722785 h 6095381"/>
                <a:gd name="connsiteX25" fmla="*/ 2323757 w 4936948"/>
                <a:gd name="connsiteY25" fmla="*/ 2722785 h 6095381"/>
                <a:gd name="connsiteX26" fmla="*/ 2241461 w 4936948"/>
                <a:gd name="connsiteY26" fmla="*/ 2640489 h 6095381"/>
                <a:gd name="connsiteX27" fmla="*/ 2323757 w 4936948"/>
                <a:gd name="connsiteY27" fmla="*/ 2558193 h 6095381"/>
                <a:gd name="connsiteX28" fmla="*/ 2235111 w 4936948"/>
                <a:gd name="connsiteY28" fmla="*/ 2081604 h 6095381"/>
                <a:gd name="connsiteX29" fmla="*/ 2701835 w 4936948"/>
                <a:gd name="connsiteY29" fmla="*/ 2081604 h 6095381"/>
                <a:gd name="connsiteX30" fmla="*/ 2806610 w 4936948"/>
                <a:gd name="connsiteY30" fmla="*/ 2186379 h 6095381"/>
                <a:gd name="connsiteX31" fmla="*/ 2701835 w 4936948"/>
                <a:gd name="connsiteY31" fmla="*/ 2291154 h 6095381"/>
                <a:gd name="connsiteX32" fmla="*/ 2235111 w 4936948"/>
                <a:gd name="connsiteY32" fmla="*/ 2291154 h 6095381"/>
                <a:gd name="connsiteX33" fmla="*/ 2130336 w 4936948"/>
                <a:gd name="connsiteY33" fmla="*/ 2186379 h 6095381"/>
                <a:gd name="connsiteX34" fmla="*/ 2235111 w 4936948"/>
                <a:gd name="connsiteY34" fmla="*/ 2081604 h 6095381"/>
                <a:gd name="connsiteX35" fmla="*/ 2323757 w 4936948"/>
                <a:gd name="connsiteY35" fmla="*/ 1649973 h 6095381"/>
                <a:gd name="connsiteX36" fmla="*/ 2613189 w 4936948"/>
                <a:gd name="connsiteY36" fmla="*/ 1649973 h 6095381"/>
                <a:gd name="connsiteX37" fmla="*/ 2695485 w 4936948"/>
                <a:gd name="connsiteY37" fmla="*/ 1732269 h 6095381"/>
                <a:gd name="connsiteX38" fmla="*/ 2613189 w 4936948"/>
                <a:gd name="connsiteY38" fmla="*/ 1814565 h 6095381"/>
                <a:gd name="connsiteX39" fmla="*/ 2323757 w 4936948"/>
                <a:gd name="connsiteY39" fmla="*/ 1814565 h 6095381"/>
                <a:gd name="connsiteX40" fmla="*/ 2241461 w 4936948"/>
                <a:gd name="connsiteY40" fmla="*/ 1732269 h 6095381"/>
                <a:gd name="connsiteX41" fmla="*/ 2323757 w 4936948"/>
                <a:gd name="connsiteY41" fmla="*/ 1649973 h 6095381"/>
                <a:gd name="connsiteX42" fmla="*/ 2323757 w 4936948"/>
                <a:gd name="connsiteY42" fmla="*/ 1218342 h 6095381"/>
                <a:gd name="connsiteX43" fmla="*/ 2613189 w 4936948"/>
                <a:gd name="connsiteY43" fmla="*/ 1218342 h 6095381"/>
                <a:gd name="connsiteX44" fmla="*/ 2695485 w 4936948"/>
                <a:gd name="connsiteY44" fmla="*/ 1300638 h 6095381"/>
                <a:gd name="connsiteX45" fmla="*/ 2613189 w 4936948"/>
                <a:gd name="connsiteY45" fmla="*/ 1382934 h 6095381"/>
                <a:gd name="connsiteX46" fmla="*/ 2323757 w 4936948"/>
                <a:gd name="connsiteY46" fmla="*/ 1382934 h 6095381"/>
                <a:gd name="connsiteX47" fmla="*/ 2241461 w 4936948"/>
                <a:gd name="connsiteY47" fmla="*/ 1300638 h 6095381"/>
                <a:gd name="connsiteX48" fmla="*/ 2323757 w 4936948"/>
                <a:gd name="connsiteY48" fmla="*/ 1218342 h 6095381"/>
                <a:gd name="connsiteX49" fmla="*/ 2235111 w 4936948"/>
                <a:gd name="connsiteY49" fmla="*/ 741753 h 6095381"/>
                <a:gd name="connsiteX50" fmla="*/ 2701835 w 4936948"/>
                <a:gd name="connsiteY50" fmla="*/ 741753 h 6095381"/>
                <a:gd name="connsiteX51" fmla="*/ 2806610 w 4936948"/>
                <a:gd name="connsiteY51" fmla="*/ 846528 h 6095381"/>
                <a:gd name="connsiteX52" fmla="*/ 2701835 w 4936948"/>
                <a:gd name="connsiteY52" fmla="*/ 951303 h 6095381"/>
                <a:gd name="connsiteX53" fmla="*/ 2235111 w 4936948"/>
                <a:gd name="connsiteY53" fmla="*/ 951303 h 6095381"/>
                <a:gd name="connsiteX54" fmla="*/ 2130336 w 4936948"/>
                <a:gd name="connsiteY54" fmla="*/ 846528 h 6095381"/>
                <a:gd name="connsiteX55" fmla="*/ 2235111 w 4936948"/>
                <a:gd name="connsiteY55" fmla="*/ 741753 h 6095381"/>
                <a:gd name="connsiteX56" fmla="*/ 1781418 w 4936948"/>
                <a:gd name="connsiteY56" fmla="*/ 129838 h 6095381"/>
                <a:gd name="connsiteX57" fmla="*/ 1705869 w 4936948"/>
                <a:gd name="connsiteY57" fmla="*/ 478234 h 6095381"/>
                <a:gd name="connsiteX58" fmla="*/ 1878096 w 4936948"/>
                <a:gd name="connsiteY58" fmla="*/ 899226 h 6095381"/>
                <a:gd name="connsiteX59" fmla="*/ 1884260 w 4936948"/>
                <a:gd name="connsiteY59" fmla="*/ 2294872 h 6095381"/>
                <a:gd name="connsiteX60" fmla="*/ 384960 w 4936948"/>
                <a:gd name="connsiteY60" fmla="*/ 5008321 h 6095381"/>
                <a:gd name="connsiteX61" fmla="*/ 159746 w 4936948"/>
                <a:gd name="connsiteY61" fmla="*/ 5393988 h 6095381"/>
                <a:gd name="connsiteX62" fmla="*/ 681852 w 4936948"/>
                <a:gd name="connsiteY62" fmla="*/ 5975161 h 6095381"/>
                <a:gd name="connsiteX63" fmla="*/ 4255097 w 4936948"/>
                <a:gd name="connsiteY63" fmla="*/ 5975161 h 6095381"/>
                <a:gd name="connsiteX64" fmla="*/ 4789903 w 4936948"/>
                <a:gd name="connsiteY64" fmla="*/ 5495589 h 6095381"/>
                <a:gd name="connsiteX65" fmla="*/ 4534367 w 4936948"/>
                <a:gd name="connsiteY65" fmla="*/ 4971874 h 6095381"/>
                <a:gd name="connsiteX66" fmla="*/ 3049867 w 4936948"/>
                <a:gd name="connsiteY66" fmla="*/ 2302787 h 6095381"/>
                <a:gd name="connsiteX67" fmla="*/ 3056217 w 4936948"/>
                <a:gd name="connsiteY67" fmla="*/ 911325 h 6095381"/>
                <a:gd name="connsiteX68" fmla="*/ 3208077 w 4936948"/>
                <a:gd name="connsiteY68" fmla="*/ 495831 h 6095381"/>
                <a:gd name="connsiteX69" fmla="*/ 3160966 w 4936948"/>
                <a:gd name="connsiteY69" fmla="*/ 129838 h 6095381"/>
                <a:gd name="connsiteX70" fmla="*/ 1781418 w 4936948"/>
                <a:gd name="connsiteY70" fmla="*/ 129838 h 6095381"/>
                <a:gd name="connsiteX71" fmla="*/ 1635633 w 4936948"/>
                <a:gd name="connsiteY71" fmla="*/ 21578 h 6095381"/>
                <a:gd name="connsiteX72" fmla="*/ 3299987 w 4936948"/>
                <a:gd name="connsiteY72" fmla="*/ 21578 h 6095381"/>
                <a:gd name="connsiteX73" fmla="*/ 3373067 w 4936948"/>
                <a:gd name="connsiteY73" fmla="*/ 514398 h 6095381"/>
                <a:gd name="connsiteX74" fmla="*/ 3176514 w 4936948"/>
                <a:gd name="connsiteY74" fmla="*/ 881867 h 6095381"/>
                <a:gd name="connsiteX75" fmla="*/ 3176514 w 4936948"/>
                <a:gd name="connsiteY75" fmla="*/ 2274832 h 6095381"/>
                <a:gd name="connsiteX76" fmla="*/ 4731051 w 4936948"/>
                <a:gd name="connsiteY76" fmla="*/ 5074507 h 6095381"/>
                <a:gd name="connsiteX77" fmla="*/ 4933754 w 4936948"/>
                <a:gd name="connsiteY77" fmla="*/ 5439570 h 6095381"/>
                <a:gd name="connsiteX78" fmla="*/ 4936948 w 4936948"/>
                <a:gd name="connsiteY78" fmla="*/ 5445322 h 6095381"/>
                <a:gd name="connsiteX79" fmla="*/ 4936947 w 4936948"/>
                <a:gd name="connsiteY79" fmla="*/ 5471244 h 6095381"/>
                <a:gd name="connsiteX80" fmla="*/ 4936947 w 4936948"/>
                <a:gd name="connsiteY80" fmla="*/ 5607985 h 6095381"/>
                <a:gd name="connsiteX81" fmla="*/ 4449551 w 4936948"/>
                <a:gd name="connsiteY81" fmla="*/ 6095381 h 6095381"/>
                <a:gd name="connsiteX82" fmla="*/ 487396 w 4936948"/>
                <a:gd name="connsiteY82" fmla="*/ 6095381 h 6095381"/>
                <a:gd name="connsiteX83" fmla="*/ 0 w 4936948"/>
                <a:gd name="connsiteY83" fmla="*/ 5607985 h 6095381"/>
                <a:gd name="connsiteX84" fmla="*/ 0 w 4936948"/>
                <a:gd name="connsiteY84" fmla="*/ 5547642 h 6095381"/>
                <a:gd name="connsiteX85" fmla="*/ 0 w 4936948"/>
                <a:gd name="connsiteY85" fmla="*/ 5510228 h 6095381"/>
                <a:gd name="connsiteX86" fmla="*/ 196095 w 4936948"/>
                <a:gd name="connsiteY86" fmla="*/ 5077118 h 6095381"/>
                <a:gd name="connsiteX87" fmla="*/ 1766458 w 4936948"/>
                <a:gd name="connsiteY87" fmla="*/ 2291924 h 6095381"/>
                <a:gd name="connsiteX88" fmla="*/ 1766458 w 4936948"/>
                <a:gd name="connsiteY88" fmla="*/ 1001509 h 6095381"/>
                <a:gd name="connsiteX89" fmla="*/ 1518630 w 4936948"/>
                <a:gd name="connsiteY89" fmla="*/ 446032 h 6095381"/>
                <a:gd name="connsiteX90" fmla="*/ 1635633 w 4936948"/>
                <a:gd name="connsiteY90" fmla="*/ 21578 h 6095381"/>
                <a:gd name="connsiteX0" fmla="*/ 1287892 w 4936948"/>
                <a:gd name="connsiteY0" fmla="*/ 3888096 h 6093489"/>
                <a:gd name="connsiteX1" fmla="*/ 3646531 w 4936948"/>
                <a:gd name="connsiteY1" fmla="*/ 3888096 h 6093489"/>
                <a:gd name="connsiteX2" fmla="*/ 4486186 w 4936948"/>
                <a:gd name="connsiteY2" fmla="*/ 5378536 h 6093489"/>
                <a:gd name="connsiteX3" fmla="*/ 4278920 w 4936948"/>
                <a:gd name="connsiteY3" fmla="*/ 5742533 h 6093489"/>
                <a:gd name="connsiteX4" fmla="*/ 664049 w 4936948"/>
                <a:gd name="connsiteY4" fmla="*/ 5742533 h 6093489"/>
                <a:gd name="connsiteX5" fmla="*/ 463341 w 4936948"/>
                <a:gd name="connsiteY5" fmla="*/ 5349427 h 6093489"/>
                <a:gd name="connsiteX6" fmla="*/ 1287892 w 4936948"/>
                <a:gd name="connsiteY6" fmla="*/ 3888096 h 6093489"/>
                <a:gd name="connsiteX7" fmla="*/ 2235111 w 4936948"/>
                <a:gd name="connsiteY7" fmla="*/ 3419561 h 6093489"/>
                <a:gd name="connsiteX8" fmla="*/ 2701835 w 4936948"/>
                <a:gd name="connsiteY8" fmla="*/ 3419561 h 6093489"/>
                <a:gd name="connsiteX9" fmla="*/ 2806610 w 4936948"/>
                <a:gd name="connsiteY9" fmla="*/ 3524336 h 6093489"/>
                <a:gd name="connsiteX10" fmla="*/ 2701835 w 4936948"/>
                <a:gd name="connsiteY10" fmla="*/ 3629111 h 6093489"/>
                <a:gd name="connsiteX11" fmla="*/ 2235111 w 4936948"/>
                <a:gd name="connsiteY11" fmla="*/ 3629111 h 6093489"/>
                <a:gd name="connsiteX12" fmla="*/ 2130336 w 4936948"/>
                <a:gd name="connsiteY12" fmla="*/ 3524336 h 6093489"/>
                <a:gd name="connsiteX13" fmla="*/ 2235111 w 4936948"/>
                <a:gd name="connsiteY13" fmla="*/ 3419561 h 6093489"/>
                <a:gd name="connsiteX14" fmla="*/ 2323757 w 4936948"/>
                <a:gd name="connsiteY14" fmla="*/ 2987932 h 6093489"/>
                <a:gd name="connsiteX15" fmla="*/ 2613189 w 4936948"/>
                <a:gd name="connsiteY15" fmla="*/ 2987932 h 6093489"/>
                <a:gd name="connsiteX16" fmla="*/ 2695485 w 4936948"/>
                <a:gd name="connsiteY16" fmla="*/ 3070228 h 6093489"/>
                <a:gd name="connsiteX17" fmla="*/ 2613189 w 4936948"/>
                <a:gd name="connsiteY17" fmla="*/ 3152524 h 6093489"/>
                <a:gd name="connsiteX18" fmla="*/ 2323757 w 4936948"/>
                <a:gd name="connsiteY18" fmla="*/ 3152524 h 6093489"/>
                <a:gd name="connsiteX19" fmla="*/ 2241461 w 4936948"/>
                <a:gd name="connsiteY19" fmla="*/ 3070228 h 6093489"/>
                <a:gd name="connsiteX20" fmla="*/ 2323757 w 4936948"/>
                <a:gd name="connsiteY20" fmla="*/ 2987932 h 6093489"/>
                <a:gd name="connsiteX21" fmla="*/ 2323757 w 4936948"/>
                <a:gd name="connsiteY21" fmla="*/ 2556301 h 6093489"/>
                <a:gd name="connsiteX22" fmla="*/ 2613189 w 4936948"/>
                <a:gd name="connsiteY22" fmla="*/ 2556301 h 6093489"/>
                <a:gd name="connsiteX23" fmla="*/ 2695485 w 4936948"/>
                <a:gd name="connsiteY23" fmla="*/ 2638597 h 6093489"/>
                <a:gd name="connsiteX24" fmla="*/ 2613189 w 4936948"/>
                <a:gd name="connsiteY24" fmla="*/ 2720893 h 6093489"/>
                <a:gd name="connsiteX25" fmla="*/ 2323757 w 4936948"/>
                <a:gd name="connsiteY25" fmla="*/ 2720893 h 6093489"/>
                <a:gd name="connsiteX26" fmla="*/ 2241461 w 4936948"/>
                <a:gd name="connsiteY26" fmla="*/ 2638597 h 6093489"/>
                <a:gd name="connsiteX27" fmla="*/ 2323757 w 4936948"/>
                <a:gd name="connsiteY27" fmla="*/ 2556301 h 6093489"/>
                <a:gd name="connsiteX28" fmla="*/ 2235111 w 4936948"/>
                <a:gd name="connsiteY28" fmla="*/ 2079712 h 6093489"/>
                <a:gd name="connsiteX29" fmla="*/ 2701835 w 4936948"/>
                <a:gd name="connsiteY29" fmla="*/ 2079712 h 6093489"/>
                <a:gd name="connsiteX30" fmla="*/ 2806610 w 4936948"/>
                <a:gd name="connsiteY30" fmla="*/ 2184487 h 6093489"/>
                <a:gd name="connsiteX31" fmla="*/ 2701835 w 4936948"/>
                <a:gd name="connsiteY31" fmla="*/ 2289262 h 6093489"/>
                <a:gd name="connsiteX32" fmla="*/ 2235111 w 4936948"/>
                <a:gd name="connsiteY32" fmla="*/ 2289262 h 6093489"/>
                <a:gd name="connsiteX33" fmla="*/ 2130336 w 4936948"/>
                <a:gd name="connsiteY33" fmla="*/ 2184487 h 6093489"/>
                <a:gd name="connsiteX34" fmla="*/ 2235111 w 4936948"/>
                <a:gd name="connsiteY34" fmla="*/ 2079712 h 6093489"/>
                <a:gd name="connsiteX35" fmla="*/ 2323757 w 4936948"/>
                <a:gd name="connsiteY35" fmla="*/ 1648081 h 6093489"/>
                <a:gd name="connsiteX36" fmla="*/ 2613189 w 4936948"/>
                <a:gd name="connsiteY36" fmla="*/ 1648081 h 6093489"/>
                <a:gd name="connsiteX37" fmla="*/ 2695485 w 4936948"/>
                <a:gd name="connsiteY37" fmla="*/ 1730377 h 6093489"/>
                <a:gd name="connsiteX38" fmla="*/ 2613189 w 4936948"/>
                <a:gd name="connsiteY38" fmla="*/ 1812673 h 6093489"/>
                <a:gd name="connsiteX39" fmla="*/ 2323757 w 4936948"/>
                <a:gd name="connsiteY39" fmla="*/ 1812673 h 6093489"/>
                <a:gd name="connsiteX40" fmla="*/ 2241461 w 4936948"/>
                <a:gd name="connsiteY40" fmla="*/ 1730377 h 6093489"/>
                <a:gd name="connsiteX41" fmla="*/ 2323757 w 4936948"/>
                <a:gd name="connsiteY41" fmla="*/ 1648081 h 6093489"/>
                <a:gd name="connsiteX42" fmla="*/ 2323757 w 4936948"/>
                <a:gd name="connsiteY42" fmla="*/ 1216450 h 6093489"/>
                <a:gd name="connsiteX43" fmla="*/ 2613189 w 4936948"/>
                <a:gd name="connsiteY43" fmla="*/ 1216450 h 6093489"/>
                <a:gd name="connsiteX44" fmla="*/ 2695485 w 4936948"/>
                <a:gd name="connsiteY44" fmla="*/ 1298746 h 6093489"/>
                <a:gd name="connsiteX45" fmla="*/ 2613189 w 4936948"/>
                <a:gd name="connsiteY45" fmla="*/ 1381042 h 6093489"/>
                <a:gd name="connsiteX46" fmla="*/ 2323757 w 4936948"/>
                <a:gd name="connsiteY46" fmla="*/ 1381042 h 6093489"/>
                <a:gd name="connsiteX47" fmla="*/ 2241461 w 4936948"/>
                <a:gd name="connsiteY47" fmla="*/ 1298746 h 6093489"/>
                <a:gd name="connsiteX48" fmla="*/ 2323757 w 4936948"/>
                <a:gd name="connsiteY48" fmla="*/ 1216450 h 6093489"/>
                <a:gd name="connsiteX49" fmla="*/ 2235111 w 4936948"/>
                <a:gd name="connsiteY49" fmla="*/ 739861 h 6093489"/>
                <a:gd name="connsiteX50" fmla="*/ 2701835 w 4936948"/>
                <a:gd name="connsiteY50" fmla="*/ 739861 h 6093489"/>
                <a:gd name="connsiteX51" fmla="*/ 2806610 w 4936948"/>
                <a:gd name="connsiteY51" fmla="*/ 844636 h 6093489"/>
                <a:gd name="connsiteX52" fmla="*/ 2701835 w 4936948"/>
                <a:gd name="connsiteY52" fmla="*/ 949411 h 6093489"/>
                <a:gd name="connsiteX53" fmla="*/ 2235111 w 4936948"/>
                <a:gd name="connsiteY53" fmla="*/ 949411 h 6093489"/>
                <a:gd name="connsiteX54" fmla="*/ 2130336 w 4936948"/>
                <a:gd name="connsiteY54" fmla="*/ 844636 h 6093489"/>
                <a:gd name="connsiteX55" fmla="*/ 2235111 w 4936948"/>
                <a:gd name="connsiteY55" fmla="*/ 739861 h 6093489"/>
                <a:gd name="connsiteX56" fmla="*/ 1781418 w 4936948"/>
                <a:gd name="connsiteY56" fmla="*/ 127946 h 6093489"/>
                <a:gd name="connsiteX57" fmla="*/ 1705869 w 4936948"/>
                <a:gd name="connsiteY57" fmla="*/ 476342 h 6093489"/>
                <a:gd name="connsiteX58" fmla="*/ 1878096 w 4936948"/>
                <a:gd name="connsiteY58" fmla="*/ 897334 h 6093489"/>
                <a:gd name="connsiteX59" fmla="*/ 1884260 w 4936948"/>
                <a:gd name="connsiteY59" fmla="*/ 2292980 h 6093489"/>
                <a:gd name="connsiteX60" fmla="*/ 384960 w 4936948"/>
                <a:gd name="connsiteY60" fmla="*/ 5006429 h 6093489"/>
                <a:gd name="connsiteX61" fmla="*/ 159746 w 4936948"/>
                <a:gd name="connsiteY61" fmla="*/ 5392096 h 6093489"/>
                <a:gd name="connsiteX62" fmla="*/ 681852 w 4936948"/>
                <a:gd name="connsiteY62" fmla="*/ 5973269 h 6093489"/>
                <a:gd name="connsiteX63" fmla="*/ 4255097 w 4936948"/>
                <a:gd name="connsiteY63" fmla="*/ 5973269 h 6093489"/>
                <a:gd name="connsiteX64" fmla="*/ 4789903 w 4936948"/>
                <a:gd name="connsiteY64" fmla="*/ 5493697 h 6093489"/>
                <a:gd name="connsiteX65" fmla="*/ 4534367 w 4936948"/>
                <a:gd name="connsiteY65" fmla="*/ 4969982 h 6093489"/>
                <a:gd name="connsiteX66" fmla="*/ 3049867 w 4936948"/>
                <a:gd name="connsiteY66" fmla="*/ 2300895 h 6093489"/>
                <a:gd name="connsiteX67" fmla="*/ 3056217 w 4936948"/>
                <a:gd name="connsiteY67" fmla="*/ 909433 h 6093489"/>
                <a:gd name="connsiteX68" fmla="*/ 3208077 w 4936948"/>
                <a:gd name="connsiteY68" fmla="*/ 493939 h 6093489"/>
                <a:gd name="connsiteX69" fmla="*/ 3160966 w 4936948"/>
                <a:gd name="connsiteY69" fmla="*/ 127946 h 6093489"/>
                <a:gd name="connsiteX70" fmla="*/ 1781418 w 4936948"/>
                <a:gd name="connsiteY70" fmla="*/ 127946 h 6093489"/>
                <a:gd name="connsiteX71" fmla="*/ 1635633 w 4936948"/>
                <a:gd name="connsiteY71" fmla="*/ 19686 h 6093489"/>
                <a:gd name="connsiteX72" fmla="*/ 3299987 w 4936948"/>
                <a:gd name="connsiteY72" fmla="*/ 19686 h 6093489"/>
                <a:gd name="connsiteX73" fmla="*/ 3373067 w 4936948"/>
                <a:gd name="connsiteY73" fmla="*/ 512506 h 6093489"/>
                <a:gd name="connsiteX74" fmla="*/ 3176514 w 4936948"/>
                <a:gd name="connsiteY74" fmla="*/ 879975 h 6093489"/>
                <a:gd name="connsiteX75" fmla="*/ 3176514 w 4936948"/>
                <a:gd name="connsiteY75" fmla="*/ 2272940 h 6093489"/>
                <a:gd name="connsiteX76" fmla="*/ 4731051 w 4936948"/>
                <a:gd name="connsiteY76" fmla="*/ 5072615 h 6093489"/>
                <a:gd name="connsiteX77" fmla="*/ 4933754 w 4936948"/>
                <a:gd name="connsiteY77" fmla="*/ 5437678 h 6093489"/>
                <a:gd name="connsiteX78" fmla="*/ 4936948 w 4936948"/>
                <a:gd name="connsiteY78" fmla="*/ 5443430 h 6093489"/>
                <a:gd name="connsiteX79" fmla="*/ 4936947 w 4936948"/>
                <a:gd name="connsiteY79" fmla="*/ 5469352 h 6093489"/>
                <a:gd name="connsiteX80" fmla="*/ 4936947 w 4936948"/>
                <a:gd name="connsiteY80" fmla="*/ 5606093 h 6093489"/>
                <a:gd name="connsiteX81" fmla="*/ 4449551 w 4936948"/>
                <a:gd name="connsiteY81" fmla="*/ 6093489 h 6093489"/>
                <a:gd name="connsiteX82" fmla="*/ 487396 w 4936948"/>
                <a:gd name="connsiteY82" fmla="*/ 6093489 h 6093489"/>
                <a:gd name="connsiteX83" fmla="*/ 0 w 4936948"/>
                <a:gd name="connsiteY83" fmla="*/ 5606093 h 6093489"/>
                <a:gd name="connsiteX84" fmla="*/ 0 w 4936948"/>
                <a:gd name="connsiteY84" fmla="*/ 5545750 h 6093489"/>
                <a:gd name="connsiteX85" fmla="*/ 0 w 4936948"/>
                <a:gd name="connsiteY85" fmla="*/ 5508336 h 6093489"/>
                <a:gd name="connsiteX86" fmla="*/ 196095 w 4936948"/>
                <a:gd name="connsiteY86" fmla="*/ 5075226 h 6093489"/>
                <a:gd name="connsiteX87" fmla="*/ 1766458 w 4936948"/>
                <a:gd name="connsiteY87" fmla="*/ 2290032 h 6093489"/>
                <a:gd name="connsiteX88" fmla="*/ 1766458 w 4936948"/>
                <a:gd name="connsiteY88" fmla="*/ 999617 h 6093489"/>
                <a:gd name="connsiteX89" fmla="*/ 1518630 w 4936948"/>
                <a:gd name="connsiteY89" fmla="*/ 444140 h 6093489"/>
                <a:gd name="connsiteX90" fmla="*/ 1635633 w 4936948"/>
                <a:gd name="connsiteY90" fmla="*/ 19686 h 6093489"/>
                <a:gd name="connsiteX0" fmla="*/ 1287892 w 4936948"/>
                <a:gd name="connsiteY0" fmla="*/ 3884909 h 6090302"/>
                <a:gd name="connsiteX1" fmla="*/ 3646531 w 4936948"/>
                <a:gd name="connsiteY1" fmla="*/ 3884909 h 6090302"/>
                <a:gd name="connsiteX2" fmla="*/ 4486186 w 4936948"/>
                <a:gd name="connsiteY2" fmla="*/ 5375349 h 6090302"/>
                <a:gd name="connsiteX3" fmla="*/ 4278920 w 4936948"/>
                <a:gd name="connsiteY3" fmla="*/ 5739346 h 6090302"/>
                <a:gd name="connsiteX4" fmla="*/ 664049 w 4936948"/>
                <a:gd name="connsiteY4" fmla="*/ 5739346 h 6090302"/>
                <a:gd name="connsiteX5" fmla="*/ 463341 w 4936948"/>
                <a:gd name="connsiteY5" fmla="*/ 5346240 h 6090302"/>
                <a:gd name="connsiteX6" fmla="*/ 1287892 w 4936948"/>
                <a:gd name="connsiteY6" fmla="*/ 3884909 h 6090302"/>
                <a:gd name="connsiteX7" fmla="*/ 2235111 w 4936948"/>
                <a:gd name="connsiteY7" fmla="*/ 3416374 h 6090302"/>
                <a:gd name="connsiteX8" fmla="*/ 2701835 w 4936948"/>
                <a:gd name="connsiteY8" fmla="*/ 3416374 h 6090302"/>
                <a:gd name="connsiteX9" fmla="*/ 2806610 w 4936948"/>
                <a:gd name="connsiteY9" fmla="*/ 3521149 h 6090302"/>
                <a:gd name="connsiteX10" fmla="*/ 2701835 w 4936948"/>
                <a:gd name="connsiteY10" fmla="*/ 3625924 h 6090302"/>
                <a:gd name="connsiteX11" fmla="*/ 2235111 w 4936948"/>
                <a:gd name="connsiteY11" fmla="*/ 3625924 h 6090302"/>
                <a:gd name="connsiteX12" fmla="*/ 2130336 w 4936948"/>
                <a:gd name="connsiteY12" fmla="*/ 3521149 h 6090302"/>
                <a:gd name="connsiteX13" fmla="*/ 2235111 w 4936948"/>
                <a:gd name="connsiteY13" fmla="*/ 3416374 h 6090302"/>
                <a:gd name="connsiteX14" fmla="*/ 2323757 w 4936948"/>
                <a:gd name="connsiteY14" fmla="*/ 2984745 h 6090302"/>
                <a:gd name="connsiteX15" fmla="*/ 2613189 w 4936948"/>
                <a:gd name="connsiteY15" fmla="*/ 2984745 h 6090302"/>
                <a:gd name="connsiteX16" fmla="*/ 2695485 w 4936948"/>
                <a:gd name="connsiteY16" fmla="*/ 3067041 h 6090302"/>
                <a:gd name="connsiteX17" fmla="*/ 2613189 w 4936948"/>
                <a:gd name="connsiteY17" fmla="*/ 3149337 h 6090302"/>
                <a:gd name="connsiteX18" fmla="*/ 2323757 w 4936948"/>
                <a:gd name="connsiteY18" fmla="*/ 3149337 h 6090302"/>
                <a:gd name="connsiteX19" fmla="*/ 2241461 w 4936948"/>
                <a:gd name="connsiteY19" fmla="*/ 3067041 h 6090302"/>
                <a:gd name="connsiteX20" fmla="*/ 2323757 w 4936948"/>
                <a:gd name="connsiteY20" fmla="*/ 2984745 h 6090302"/>
                <a:gd name="connsiteX21" fmla="*/ 2323757 w 4936948"/>
                <a:gd name="connsiteY21" fmla="*/ 2553114 h 6090302"/>
                <a:gd name="connsiteX22" fmla="*/ 2613189 w 4936948"/>
                <a:gd name="connsiteY22" fmla="*/ 2553114 h 6090302"/>
                <a:gd name="connsiteX23" fmla="*/ 2695485 w 4936948"/>
                <a:gd name="connsiteY23" fmla="*/ 2635410 h 6090302"/>
                <a:gd name="connsiteX24" fmla="*/ 2613189 w 4936948"/>
                <a:gd name="connsiteY24" fmla="*/ 2717706 h 6090302"/>
                <a:gd name="connsiteX25" fmla="*/ 2323757 w 4936948"/>
                <a:gd name="connsiteY25" fmla="*/ 2717706 h 6090302"/>
                <a:gd name="connsiteX26" fmla="*/ 2241461 w 4936948"/>
                <a:gd name="connsiteY26" fmla="*/ 2635410 h 6090302"/>
                <a:gd name="connsiteX27" fmla="*/ 2323757 w 4936948"/>
                <a:gd name="connsiteY27" fmla="*/ 2553114 h 6090302"/>
                <a:gd name="connsiteX28" fmla="*/ 2235111 w 4936948"/>
                <a:gd name="connsiteY28" fmla="*/ 2076525 h 6090302"/>
                <a:gd name="connsiteX29" fmla="*/ 2701835 w 4936948"/>
                <a:gd name="connsiteY29" fmla="*/ 2076525 h 6090302"/>
                <a:gd name="connsiteX30" fmla="*/ 2806610 w 4936948"/>
                <a:gd name="connsiteY30" fmla="*/ 2181300 h 6090302"/>
                <a:gd name="connsiteX31" fmla="*/ 2701835 w 4936948"/>
                <a:gd name="connsiteY31" fmla="*/ 2286075 h 6090302"/>
                <a:gd name="connsiteX32" fmla="*/ 2235111 w 4936948"/>
                <a:gd name="connsiteY32" fmla="*/ 2286075 h 6090302"/>
                <a:gd name="connsiteX33" fmla="*/ 2130336 w 4936948"/>
                <a:gd name="connsiteY33" fmla="*/ 2181300 h 6090302"/>
                <a:gd name="connsiteX34" fmla="*/ 2235111 w 4936948"/>
                <a:gd name="connsiteY34" fmla="*/ 2076525 h 6090302"/>
                <a:gd name="connsiteX35" fmla="*/ 2323757 w 4936948"/>
                <a:gd name="connsiteY35" fmla="*/ 1644894 h 6090302"/>
                <a:gd name="connsiteX36" fmla="*/ 2613189 w 4936948"/>
                <a:gd name="connsiteY36" fmla="*/ 1644894 h 6090302"/>
                <a:gd name="connsiteX37" fmla="*/ 2695485 w 4936948"/>
                <a:gd name="connsiteY37" fmla="*/ 1727190 h 6090302"/>
                <a:gd name="connsiteX38" fmla="*/ 2613189 w 4936948"/>
                <a:gd name="connsiteY38" fmla="*/ 1809486 h 6090302"/>
                <a:gd name="connsiteX39" fmla="*/ 2323757 w 4936948"/>
                <a:gd name="connsiteY39" fmla="*/ 1809486 h 6090302"/>
                <a:gd name="connsiteX40" fmla="*/ 2241461 w 4936948"/>
                <a:gd name="connsiteY40" fmla="*/ 1727190 h 6090302"/>
                <a:gd name="connsiteX41" fmla="*/ 2323757 w 4936948"/>
                <a:gd name="connsiteY41" fmla="*/ 1644894 h 6090302"/>
                <a:gd name="connsiteX42" fmla="*/ 2323757 w 4936948"/>
                <a:gd name="connsiteY42" fmla="*/ 1213263 h 6090302"/>
                <a:gd name="connsiteX43" fmla="*/ 2613189 w 4936948"/>
                <a:gd name="connsiteY43" fmla="*/ 1213263 h 6090302"/>
                <a:gd name="connsiteX44" fmla="*/ 2695485 w 4936948"/>
                <a:gd name="connsiteY44" fmla="*/ 1295559 h 6090302"/>
                <a:gd name="connsiteX45" fmla="*/ 2613189 w 4936948"/>
                <a:gd name="connsiteY45" fmla="*/ 1377855 h 6090302"/>
                <a:gd name="connsiteX46" fmla="*/ 2323757 w 4936948"/>
                <a:gd name="connsiteY46" fmla="*/ 1377855 h 6090302"/>
                <a:gd name="connsiteX47" fmla="*/ 2241461 w 4936948"/>
                <a:gd name="connsiteY47" fmla="*/ 1295559 h 6090302"/>
                <a:gd name="connsiteX48" fmla="*/ 2323757 w 4936948"/>
                <a:gd name="connsiteY48" fmla="*/ 1213263 h 6090302"/>
                <a:gd name="connsiteX49" fmla="*/ 2235111 w 4936948"/>
                <a:gd name="connsiteY49" fmla="*/ 736674 h 6090302"/>
                <a:gd name="connsiteX50" fmla="*/ 2701835 w 4936948"/>
                <a:gd name="connsiteY50" fmla="*/ 736674 h 6090302"/>
                <a:gd name="connsiteX51" fmla="*/ 2806610 w 4936948"/>
                <a:gd name="connsiteY51" fmla="*/ 841449 h 6090302"/>
                <a:gd name="connsiteX52" fmla="*/ 2701835 w 4936948"/>
                <a:gd name="connsiteY52" fmla="*/ 946224 h 6090302"/>
                <a:gd name="connsiteX53" fmla="*/ 2235111 w 4936948"/>
                <a:gd name="connsiteY53" fmla="*/ 946224 h 6090302"/>
                <a:gd name="connsiteX54" fmla="*/ 2130336 w 4936948"/>
                <a:gd name="connsiteY54" fmla="*/ 841449 h 6090302"/>
                <a:gd name="connsiteX55" fmla="*/ 2235111 w 4936948"/>
                <a:gd name="connsiteY55" fmla="*/ 736674 h 6090302"/>
                <a:gd name="connsiteX56" fmla="*/ 1781418 w 4936948"/>
                <a:gd name="connsiteY56" fmla="*/ 124759 h 6090302"/>
                <a:gd name="connsiteX57" fmla="*/ 1705869 w 4936948"/>
                <a:gd name="connsiteY57" fmla="*/ 473155 h 6090302"/>
                <a:gd name="connsiteX58" fmla="*/ 1878096 w 4936948"/>
                <a:gd name="connsiteY58" fmla="*/ 894147 h 6090302"/>
                <a:gd name="connsiteX59" fmla="*/ 1884260 w 4936948"/>
                <a:gd name="connsiteY59" fmla="*/ 2289793 h 6090302"/>
                <a:gd name="connsiteX60" fmla="*/ 384960 w 4936948"/>
                <a:gd name="connsiteY60" fmla="*/ 5003242 h 6090302"/>
                <a:gd name="connsiteX61" fmla="*/ 159746 w 4936948"/>
                <a:gd name="connsiteY61" fmla="*/ 5388909 h 6090302"/>
                <a:gd name="connsiteX62" fmla="*/ 681852 w 4936948"/>
                <a:gd name="connsiteY62" fmla="*/ 5970082 h 6090302"/>
                <a:gd name="connsiteX63" fmla="*/ 4255097 w 4936948"/>
                <a:gd name="connsiteY63" fmla="*/ 5970082 h 6090302"/>
                <a:gd name="connsiteX64" fmla="*/ 4789903 w 4936948"/>
                <a:gd name="connsiteY64" fmla="*/ 5490510 h 6090302"/>
                <a:gd name="connsiteX65" fmla="*/ 4534367 w 4936948"/>
                <a:gd name="connsiteY65" fmla="*/ 4966795 h 6090302"/>
                <a:gd name="connsiteX66" fmla="*/ 3049867 w 4936948"/>
                <a:gd name="connsiteY66" fmla="*/ 2297708 h 6090302"/>
                <a:gd name="connsiteX67" fmla="*/ 3056217 w 4936948"/>
                <a:gd name="connsiteY67" fmla="*/ 906246 h 6090302"/>
                <a:gd name="connsiteX68" fmla="*/ 3208077 w 4936948"/>
                <a:gd name="connsiteY68" fmla="*/ 490752 h 6090302"/>
                <a:gd name="connsiteX69" fmla="*/ 3160966 w 4936948"/>
                <a:gd name="connsiteY69" fmla="*/ 124759 h 6090302"/>
                <a:gd name="connsiteX70" fmla="*/ 1781418 w 4936948"/>
                <a:gd name="connsiteY70" fmla="*/ 124759 h 6090302"/>
                <a:gd name="connsiteX71" fmla="*/ 1635633 w 4936948"/>
                <a:gd name="connsiteY71" fmla="*/ 16499 h 6090302"/>
                <a:gd name="connsiteX72" fmla="*/ 3299987 w 4936948"/>
                <a:gd name="connsiteY72" fmla="*/ 16499 h 6090302"/>
                <a:gd name="connsiteX73" fmla="*/ 3373067 w 4936948"/>
                <a:gd name="connsiteY73" fmla="*/ 509319 h 6090302"/>
                <a:gd name="connsiteX74" fmla="*/ 3176514 w 4936948"/>
                <a:gd name="connsiteY74" fmla="*/ 876788 h 6090302"/>
                <a:gd name="connsiteX75" fmla="*/ 3176514 w 4936948"/>
                <a:gd name="connsiteY75" fmla="*/ 2269753 h 6090302"/>
                <a:gd name="connsiteX76" fmla="*/ 4731051 w 4936948"/>
                <a:gd name="connsiteY76" fmla="*/ 5069428 h 6090302"/>
                <a:gd name="connsiteX77" fmla="*/ 4933754 w 4936948"/>
                <a:gd name="connsiteY77" fmla="*/ 5434491 h 6090302"/>
                <a:gd name="connsiteX78" fmla="*/ 4936948 w 4936948"/>
                <a:gd name="connsiteY78" fmla="*/ 5440243 h 6090302"/>
                <a:gd name="connsiteX79" fmla="*/ 4936947 w 4936948"/>
                <a:gd name="connsiteY79" fmla="*/ 5466165 h 6090302"/>
                <a:gd name="connsiteX80" fmla="*/ 4936947 w 4936948"/>
                <a:gd name="connsiteY80" fmla="*/ 5602906 h 6090302"/>
                <a:gd name="connsiteX81" fmla="*/ 4449551 w 4936948"/>
                <a:gd name="connsiteY81" fmla="*/ 6090302 h 6090302"/>
                <a:gd name="connsiteX82" fmla="*/ 487396 w 4936948"/>
                <a:gd name="connsiteY82" fmla="*/ 6090302 h 6090302"/>
                <a:gd name="connsiteX83" fmla="*/ 0 w 4936948"/>
                <a:gd name="connsiteY83" fmla="*/ 5602906 h 6090302"/>
                <a:gd name="connsiteX84" fmla="*/ 0 w 4936948"/>
                <a:gd name="connsiteY84" fmla="*/ 5542563 h 6090302"/>
                <a:gd name="connsiteX85" fmla="*/ 0 w 4936948"/>
                <a:gd name="connsiteY85" fmla="*/ 5505149 h 6090302"/>
                <a:gd name="connsiteX86" fmla="*/ 196095 w 4936948"/>
                <a:gd name="connsiteY86" fmla="*/ 5072039 h 6090302"/>
                <a:gd name="connsiteX87" fmla="*/ 1766458 w 4936948"/>
                <a:gd name="connsiteY87" fmla="*/ 2286845 h 6090302"/>
                <a:gd name="connsiteX88" fmla="*/ 1766458 w 4936948"/>
                <a:gd name="connsiteY88" fmla="*/ 996430 h 6090302"/>
                <a:gd name="connsiteX89" fmla="*/ 1518630 w 4936948"/>
                <a:gd name="connsiteY89" fmla="*/ 440953 h 6090302"/>
                <a:gd name="connsiteX90" fmla="*/ 1635633 w 4936948"/>
                <a:gd name="connsiteY90" fmla="*/ 16499 h 6090302"/>
                <a:gd name="connsiteX0" fmla="*/ 1287892 w 4936948"/>
                <a:gd name="connsiteY0" fmla="*/ 3881937 h 6087330"/>
                <a:gd name="connsiteX1" fmla="*/ 3646531 w 4936948"/>
                <a:gd name="connsiteY1" fmla="*/ 3881937 h 6087330"/>
                <a:gd name="connsiteX2" fmla="*/ 4486186 w 4936948"/>
                <a:gd name="connsiteY2" fmla="*/ 5372377 h 6087330"/>
                <a:gd name="connsiteX3" fmla="*/ 4278920 w 4936948"/>
                <a:gd name="connsiteY3" fmla="*/ 5736374 h 6087330"/>
                <a:gd name="connsiteX4" fmla="*/ 664049 w 4936948"/>
                <a:gd name="connsiteY4" fmla="*/ 5736374 h 6087330"/>
                <a:gd name="connsiteX5" fmla="*/ 463341 w 4936948"/>
                <a:gd name="connsiteY5" fmla="*/ 5343268 h 6087330"/>
                <a:gd name="connsiteX6" fmla="*/ 1287892 w 4936948"/>
                <a:gd name="connsiteY6" fmla="*/ 3881937 h 6087330"/>
                <a:gd name="connsiteX7" fmla="*/ 2235111 w 4936948"/>
                <a:gd name="connsiteY7" fmla="*/ 3413402 h 6087330"/>
                <a:gd name="connsiteX8" fmla="*/ 2701835 w 4936948"/>
                <a:gd name="connsiteY8" fmla="*/ 3413402 h 6087330"/>
                <a:gd name="connsiteX9" fmla="*/ 2806610 w 4936948"/>
                <a:gd name="connsiteY9" fmla="*/ 3518177 h 6087330"/>
                <a:gd name="connsiteX10" fmla="*/ 2701835 w 4936948"/>
                <a:gd name="connsiteY10" fmla="*/ 3622952 h 6087330"/>
                <a:gd name="connsiteX11" fmla="*/ 2235111 w 4936948"/>
                <a:gd name="connsiteY11" fmla="*/ 3622952 h 6087330"/>
                <a:gd name="connsiteX12" fmla="*/ 2130336 w 4936948"/>
                <a:gd name="connsiteY12" fmla="*/ 3518177 h 6087330"/>
                <a:gd name="connsiteX13" fmla="*/ 2235111 w 4936948"/>
                <a:gd name="connsiteY13" fmla="*/ 3413402 h 6087330"/>
                <a:gd name="connsiteX14" fmla="*/ 2323757 w 4936948"/>
                <a:gd name="connsiteY14" fmla="*/ 2981773 h 6087330"/>
                <a:gd name="connsiteX15" fmla="*/ 2613189 w 4936948"/>
                <a:gd name="connsiteY15" fmla="*/ 2981773 h 6087330"/>
                <a:gd name="connsiteX16" fmla="*/ 2695485 w 4936948"/>
                <a:gd name="connsiteY16" fmla="*/ 3064069 h 6087330"/>
                <a:gd name="connsiteX17" fmla="*/ 2613189 w 4936948"/>
                <a:gd name="connsiteY17" fmla="*/ 3146365 h 6087330"/>
                <a:gd name="connsiteX18" fmla="*/ 2323757 w 4936948"/>
                <a:gd name="connsiteY18" fmla="*/ 3146365 h 6087330"/>
                <a:gd name="connsiteX19" fmla="*/ 2241461 w 4936948"/>
                <a:gd name="connsiteY19" fmla="*/ 3064069 h 6087330"/>
                <a:gd name="connsiteX20" fmla="*/ 2323757 w 4936948"/>
                <a:gd name="connsiteY20" fmla="*/ 2981773 h 6087330"/>
                <a:gd name="connsiteX21" fmla="*/ 2323757 w 4936948"/>
                <a:gd name="connsiteY21" fmla="*/ 2550142 h 6087330"/>
                <a:gd name="connsiteX22" fmla="*/ 2613189 w 4936948"/>
                <a:gd name="connsiteY22" fmla="*/ 2550142 h 6087330"/>
                <a:gd name="connsiteX23" fmla="*/ 2695485 w 4936948"/>
                <a:gd name="connsiteY23" fmla="*/ 2632438 h 6087330"/>
                <a:gd name="connsiteX24" fmla="*/ 2613189 w 4936948"/>
                <a:gd name="connsiteY24" fmla="*/ 2714734 h 6087330"/>
                <a:gd name="connsiteX25" fmla="*/ 2323757 w 4936948"/>
                <a:gd name="connsiteY25" fmla="*/ 2714734 h 6087330"/>
                <a:gd name="connsiteX26" fmla="*/ 2241461 w 4936948"/>
                <a:gd name="connsiteY26" fmla="*/ 2632438 h 6087330"/>
                <a:gd name="connsiteX27" fmla="*/ 2323757 w 4936948"/>
                <a:gd name="connsiteY27" fmla="*/ 2550142 h 6087330"/>
                <a:gd name="connsiteX28" fmla="*/ 2235111 w 4936948"/>
                <a:gd name="connsiteY28" fmla="*/ 2073553 h 6087330"/>
                <a:gd name="connsiteX29" fmla="*/ 2701835 w 4936948"/>
                <a:gd name="connsiteY29" fmla="*/ 2073553 h 6087330"/>
                <a:gd name="connsiteX30" fmla="*/ 2806610 w 4936948"/>
                <a:gd name="connsiteY30" fmla="*/ 2178328 h 6087330"/>
                <a:gd name="connsiteX31" fmla="*/ 2701835 w 4936948"/>
                <a:gd name="connsiteY31" fmla="*/ 2283103 h 6087330"/>
                <a:gd name="connsiteX32" fmla="*/ 2235111 w 4936948"/>
                <a:gd name="connsiteY32" fmla="*/ 2283103 h 6087330"/>
                <a:gd name="connsiteX33" fmla="*/ 2130336 w 4936948"/>
                <a:gd name="connsiteY33" fmla="*/ 2178328 h 6087330"/>
                <a:gd name="connsiteX34" fmla="*/ 2235111 w 4936948"/>
                <a:gd name="connsiteY34" fmla="*/ 2073553 h 6087330"/>
                <a:gd name="connsiteX35" fmla="*/ 2323757 w 4936948"/>
                <a:gd name="connsiteY35" fmla="*/ 1641922 h 6087330"/>
                <a:gd name="connsiteX36" fmla="*/ 2613189 w 4936948"/>
                <a:gd name="connsiteY36" fmla="*/ 1641922 h 6087330"/>
                <a:gd name="connsiteX37" fmla="*/ 2695485 w 4936948"/>
                <a:gd name="connsiteY37" fmla="*/ 1724218 h 6087330"/>
                <a:gd name="connsiteX38" fmla="*/ 2613189 w 4936948"/>
                <a:gd name="connsiteY38" fmla="*/ 1806514 h 6087330"/>
                <a:gd name="connsiteX39" fmla="*/ 2323757 w 4936948"/>
                <a:gd name="connsiteY39" fmla="*/ 1806514 h 6087330"/>
                <a:gd name="connsiteX40" fmla="*/ 2241461 w 4936948"/>
                <a:gd name="connsiteY40" fmla="*/ 1724218 h 6087330"/>
                <a:gd name="connsiteX41" fmla="*/ 2323757 w 4936948"/>
                <a:gd name="connsiteY41" fmla="*/ 1641922 h 6087330"/>
                <a:gd name="connsiteX42" fmla="*/ 2323757 w 4936948"/>
                <a:gd name="connsiteY42" fmla="*/ 1210291 h 6087330"/>
                <a:gd name="connsiteX43" fmla="*/ 2613189 w 4936948"/>
                <a:gd name="connsiteY43" fmla="*/ 1210291 h 6087330"/>
                <a:gd name="connsiteX44" fmla="*/ 2695485 w 4936948"/>
                <a:gd name="connsiteY44" fmla="*/ 1292587 h 6087330"/>
                <a:gd name="connsiteX45" fmla="*/ 2613189 w 4936948"/>
                <a:gd name="connsiteY45" fmla="*/ 1374883 h 6087330"/>
                <a:gd name="connsiteX46" fmla="*/ 2323757 w 4936948"/>
                <a:gd name="connsiteY46" fmla="*/ 1374883 h 6087330"/>
                <a:gd name="connsiteX47" fmla="*/ 2241461 w 4936948"/>
                <a:gd name="connsiteY47" fmla="*/ 1292587 h 6087330"/>
                <a:gd name="connsiteX48" fmla="*/ 2323757 w 4936948"/>
                <a:gd name="connsiteY48" fmla="*/ 1210291 h 6087330"/>
                <a:gd name="connsiteX49" fmla="*/ 2235111 w 4936948"/>
                <a:gd name="connsiteY49" fmla="*/ 733702 h 6087330"/>
                <a:gd name="connsiteX50" fmla="*/ 2701835 w 4936948"/>
                <a:gd name="connsiteY50" fmla="*/ 733702 h 6087330"/>
                <a:gd name="connsiteX51" fmla="*/ 2806610 w 4936948"/>
                <a:gd name="connsiteY51" fmla="*/ 838477 h 6087330"/>
                <a:gd name="connsiteX52" fmla="*/ 2701835 w 4936948"/>
                <a:gd name="connsiteY52" fmla="*/ 943252 h 6087330"/>
                <a:gd name="connsiteX53" fmla="*/ 2235111 w 4936948"/>
                <a:gd name="connsiteY53" fmla="*/ 943252 h 6087330"/>
                <a:gd name="connsiteX54" fmla="*/ 2130336 w 4936948"/>
                <a:gd name="connsiteY54" fmla="*/ 838477 h 6087330"/>
                <a:gd name="connsiteX55" fmla="*/ 2235111 w 4936948"/>
                <a:gd name="connsiteY55" fmla="*/ 733702 h 6087330"/>
                <a:gd name="connsiteX56" fmla="*/ 1781418 w 4936948"/>
                <a:gd name="connsiteY56" fmla="*/ 121787 h 6087330"/>
                <a:gd name="connsiteX57" fmla="*/ 1705869 w 4936948"/>
                <a:gd name="connsiteY57" fmla="*/ 470183 h 6087330"/>
                <a:gd name="connsiteX58" fmla="*/ 1878096 w 4936948"/>
                <a:gd name="connsiteY58" fmla="*/ 891175 h 6087330"/>
                <a:gd name="connsiteX59" fmla="*/ 1884260 w 4936948"/>
                <a:gd name="connsiteY59" fmla="*/ 2286821 h 6087330"/>
                <a:gd name="connsiteX60" fmla="*/ 384960 w 4936948"/>
                <a:gd name="connsiteY60" fmla="*/ 5000270 h 6087330"/>
                <a:gd name="connsiteX61" fmla="*/ 159746 w 4936948"/>
                <a:gd name="connsiteY61" fmla="*/ 5385937 h 6087330"/>
                <a:gd name="connsiteX62" fmla="*/ 681852 w 4936948"/>
                <a:gd name="connsiteY62" fmla="*/ 5967110 h 6087330"/>
                <a:gd name="connsiteX63" fmla="*/ 4255097 w 4936948"/>
                <a:gd name="connsiteY63" fmla="*/ 5967110 h 6087330"/>
                <a:gd name="connsiteX64" fmla="*/ 4789903 w 4936948"/>
                <a:gd name="connsiteY64" fmla="*/ 5487538 h 6087330"/>
                <a:gd name="connsiteX65" fmla="*/ 4534367 w 4936948"/>
                <a:gd name="connsiteY65" fmla="*/ 4963823 h 6087330"/>
                <a:gd name="connsiteX66" fmla="*/ 3049867 w 4936948"/>
                <a:gd name="connsiteY66" fmla="*/ 2294736 h 6087330"/>
                <a:gd name="connsiteX67" fmla="*/ 3056217 w 4936948"/>
                <a:gd name="connsiteY67" fmla="*/ 903274 h 6087330"/>
                <a:gd name="connsiteX68" fmla="*/ 3208077 w 4936948"/>
                <a:gd name="connsiteY68" fmla="*/ 487780 h 6087330"/>
                <a:gd name="connsiteX69" fmla="*/ 3160966 w 4936948"/>
                <a:gd name="connsiteY69" fmla="*/ 121787 h 6087330"/>
                <a:gd name="connsiteX70" fmla="*/ 1781418 w 4936948"/>
                <a:gd name="connsiteY70" fmla="*/ 121787 h 6087330"/>
                <a:gd name="connsiteX71" fmla="*/ 1635633 w 4936948"/>
                <a:gd name="connsiteY71" fmla="*/ 13527 h 6087330"/>
                <a:gd name="connsiteX72" fmla="*/ 3299987 w 4936948"/>
                <a:gd name="connsiteY72" fmla="*/ 13527 h 6087330"/>
                <a:gd name="connsiteX73" fmla="*/ 3373067 w 4936948"/>
                <a:gd name="connsiteY73" fmla="*/ 506347 h 6087330"/>
                <a:gd name="connsiteX74" fmla="*/ 3176514 w 4936948"/>
                <a:gd name="connsiteY74" fmla="*/ 873816 h 6087330"/>
                <a:gd name="connsiteX75" fmla="*/ 3176514 w 4936948"/>
                <a:gd name="connsiteY75" fmla="*/ 2266781 h 6087330"/>
                <a:gd name="connsiteX76" fmla="*/ 4731051 w 4936948"/>
                <a:gd name="connsiteY76" fmla="*/ 5066456 h 6087330"/>
                <a:gd name="connsiteX77" fmla="*/ 4933754 w 4936948"/>
                <a:gd name="connsiteY77" fmla="*/ 5431519 h 6087330"/>
                <a:gd name="connsiteX78" fmla="*/ 4936948 w 4936948"/>
                <a:gd name="connsiteY78" fmla="*/ 5437271 h 6087330"/>
                <a:gd name="connsiteX79" fmla="*/ 4936947 w 4936948"/>
                <a:gd name="connsiteY79" fmla="*/ 5463193 h 6087330"/>
                <a:gd name="connsiteX80" fmla="*/ 4936947 w 4936948"/>
                <a:gd name="connsiteY80" fmla="*/ 5599934 h 6087330"/>
                <a:gd name="connsiteX81" fmla="*/ 4449551 w 4936948"/>
                <a:gd name="connsiteY81" fmla="*/ 6087330 h 6087330"/>
                <a:gd name="connsiteX82" fmla="*/ 487396 w 4936948"/>
                <a:gd name="connsiteY82" fmla="*/ 6087330 h 6087330"/>
                <a:gd name="connsiteX83" fmla="*/ 0 w 4936948"/>
                <a:gd name="connsiteY83" fmla="*/ 5599934 h 6087330"/>
                <a:gd name="connsiteX84" fmla="*/ 0 w 4936948"/>
                <a:gd name="connsiteY84" fmla="*/ 5539591 h 6087330"/>
                <a:gd name="connsiteX85" fmla="*/ 0 w 4936948"/>
                <a:gd name="connsiteY85" fmla="*/ 5502177 h 6087330"/>
                <a:gd name="connsiteX86" fmla="*/ 196095 w 4936948"/>
                <a:gd name="connsiteY86" fmla="*/ 5069067 h 6087330"/>
                <a:gd name="connsiteX87" fmla="*/ 1766458 w 4936948"/>
                <a:gd name="connsiteY87" fmla="*/ 2283873 h 6087330"/>
                <a:gd name="connsiteX88" fmla="*/ 1766458 w 4936948"/>
                <a:gd name="connsiteY88" fmla="*/ 993458 h 6087330"/>
                <a:gd name="connsiteX89" fmla="*/ 1518630 w 4936948"/>
                <a:gd name="connsiteY89" fmla="*/ 437981 h 6087330"/>
                <a:gd name="connsiteX90" fmla="*/ 1635633 w 4936948"/>
                <a:gd name="connsiteY90" fmla="*/ 13527 h 6087330"/>
                <a:gd name="connsiteX0" fmla="*/ 1287892 w 4936948"/>
                <a:gd name="connsiteY0" fmla="*/ 3877428 h 6082821"/>
                <a:gd name="connsiteX1" fmla="*/ 3646531 w 4936948"/>
                <a:gd name="connsiteY1" fmla="*/ 3877428 h 6082821"/>
                <a:gd name="connsiteX2" fmla="*/ 4486186 w 4936948"/>
                <a:gd name="connsiteY2" fmla="*/ 5367868 h 6082821"/>
                <a:gd name="connsiteX3" fmla="*/ 4278920 w 4936948"/>
                <a:gd name="connsiteY3" fmla="*/ 5731865 h 6082821"/>
                <a:gd name="connsiteX4" fmla="*/ 664049 w 4936948"/>
                <a:gd name="connsiteY4" fmla="*/ 5731865 h 6082821"/>
                <a:gd name="connsiteX5" fmla="*/ 463341 w 4936948"/>
                <a:gd name="connsiteY5" fmla="*/ 5338759 h 6082821"/>
                <a:gd name="connsiteX6" fmla="*/ 1287892 w 4936948"/>
                <a:gd name="connsiteY6" fmla="*/ 3877428 h 6082821"/>
                <a:gd name="connsiteX7" fmla="*/ 2235111 w 4936948"/>
                <a:gd name="connsiteY7" fmla="*/ 3408893 h 6082821"/>
                <a:gd name="connsiteX8" fmla="*/ 2701835 w 4936948"/>
                <a:gd name="connsiteY8" fmla="*/ 3408893 h 6082821"/>
                <a:gd name="connsiteX9" fmla="*/ 2806610 w 4936948"/>
                <a:gd name="connsiteY9" fmla="*/ 3513668 h 6082821"/>
                <a:gd name="connsiteX10" fmla="*/ 2701835 w 4936948"/>
                <a:gd name="connsiteY10" fmla="*/ 3618443 h 6082821"/>
                <a:gd name="connsiteX11" fmla="*/ 2235111 w 4936948"/>
                <a:gd name="connsiteY11" fmla="*/ 3618443 h 6082821"/>
                <a:gd name="connsiteX12" fmla="*/ 2130336 w 4936948"/>
                <a:gd name="connsiteY12" fmla="*/ 3513668 h 6082821"/>
                <a:gd name="connsiteX13" fmla="*/ 2235111 w 4936948"/>
                <a:gd name="connsiteY13" fmla="*/ 3408893 h 6082821"/>
                <a:gd name="connsiteX14" fmla="*/ 2323757 w 4936948"/>
                <a:gd name="connsiteY14" fmla="*/ 2977264 h 6082821"/>
                <a:gd name="connsiteX15" fmla="*/ 2613189 w 4936948"/>
                <a:gd name="connsiteY15" fmla="*/ 2977264 h 6082821"/>
                <a:gd name="connsiteX16" fmla="*/ 2695485 w 4936948"/>
                <a:gd name="connsiteY16" fmla="*/ 3059560 h 6082821"/>
                <a:gd name="connsiteX17" fmla="*/ 2613189 w 4936948"/>
                <a:gd name="connsiteY17" fmla="*/ 3141856 h 6082821"/>
                <a:gd name="connsiteX18" fmla="*/ 2323757 w 4936948"/>
                <a:gd name="connsiteY18" fmla="*/ 3141856 h 6082821"/>
                <a:gd name="connsiteX19" fmla="*/ 2241461 w 4936948"/>
                <a:gd name="connsiteY19" fmla="*/ 3059560 h 6082821"/>
                <a:gd name="connsiteX20" fmla="*/ 2323757 w 4936948"/>
                <a:gd name="connsiteY20" fmla="*/ 2977264 h 6082821"/>
                <a:gd name="connsiteX21" fmla="*/ 2323757 w 4936948"/>
                <a:gd name="connsiteY21" fmla="*/ 2545633 h 6082821"/>
                <a:gd name="connsiteX22" fmla="*/ 2613189 w 4936948"/>
                <a:gd name="connsiteY22" fmla="*/ 2545633 h 6082821"/>
                <a:gd name="connsiteX23" fmla="*/ 2695485 w 4936948"/>
                <a:gd name="connsiteY23" fmla="*/ 2627929 h 6082821"/>
                <a:gd name="connsiteX24" fmla="*/ 2613189 w 4936948"/>
                <a:gd name="connsiteY24" fmla="*/ 2710225 h 6082821"/>
                <a:gd name="connsiteX25" fmla="*/ 2323757 w 4936948"/>
                <a:gd name="connsiteY25" fmla="*/ 2710225 h 6082821"/>
                <a:gd name="connsiteX26" fmla="*/ 2241461 w 4936948"/>
                <a:gd name="connsiteY26" fmla="*/ 2627929 h 6082821"/>
                <a:gd name="connsiteX27" fmla="*/ 2323757 w 4936948"/>
                <a:gd name="connsiteY27" fmla="*/ 2545633 h 6082821"/>
                <a:gd name="connsiteX28" fmla="*/ 2235111 w 4936948"/>
                <a:gd name="connsiteY28" fmla="*/ 2069044 h 6082821"/>
                <a:gd name="connsiteX29" fmla="*/ 2701835 w 4936948"/>
                <a:gd name="connsiteY29" fmla="*/ 2069044 h 6082821"/>
                <a:gd name="connsiteX30" fmla="*/ 2806610 w 4936948"/>
                <a:gd name="connsiteY30" fmla="*/ 2173819 h 6082821"/>
                <a:gd name="connsiteX31" fmla="*/ 2701835 w 4936948"/>
                <a:gd name="connsiteY31" fmla="*/ 2278594 h 6082821"/>
                <a:gd name="connsiteX32" fmla="*/ 2235111 w 4936948"/>
                <a:gd name="connsiteY32" fmla="*/ 2278594 h 6082821"/>
                <a:gd name="connsiteX33" fmla="*/ 2130336 w 4936948"/>
                <a:gd name="connsiteY33" fmla="*/ 2173819 h 6082821"/>
                <a:gd name="connsiteX34" fmla="*/ 2235111 w 4936948"/>
                <a:gd name="connsiteY34" fmla="*/ 2069044 h 6082821"/>
                <a:gd name="connsiteX35" fmla="*/ 2323757 w 4936948"/>
                <a:gd name="connsiteY35" fmla="*/ 1637413 h 6082821"/>
                <a:gd name="connsiteX36" fmla="*/ 2613189 w 4936948"/>
                <a:gd name="connsiteY36" fmla="*/ 1637413 h 6082821"/>
                <a:gd name="connsiteX37" fmla="*/ 2695485 w 4936948"/>
                <a:gd name="connsiteY37" fmla="*/ 1719709 h 6082821"/>
                <a:gd name="connsiteX38" fmla="*/ 2613189 w 4936948"/>
                <a:gd name="connsiteY38" fmla="*/ 1802005 h 6082821"/>
                <a:gd name="connsiteX39" fmla="*/ 2323757 w 4936948"/>
                <a:gd name="connsiteY39" fmla="*/ 1802005 h 6082821"/>
                <a:gd name="connsiteX40" fmla="*/ 2241461 w 4936948"/>
                <a:gd name="connsiteY40" fmla="*/ 1719709 h 6082821"/>
                <a:gd name="connsiteX41" fmla="*/ 2323757 w 4936948"/>
                <a:gd name="connsiteY41" fmla="*/ 1637413 h 6082821"/>
                <a:gd name="connsiteX42" fmla="*/ 2323757 w 4936948"/>
                <a:gd name="connsiteY42" fmla="*/ 1205782 h 6082821"/>
                <a:gd name="connsiteX43" fmla="*/ 2613189 w 4936948"/>
                <a:gd name="connsiteY43" fmla="*/ 1205782 h 6082821"/>
                <a:gd name="connsiteX44" fmla="*/ 2695485 w 4936948"/>
                <a:gd name="connsiteY44" fmla="*/ 1288078 h 6082821"/>
                <a:gd name="connsiteX45" fmla="*/ 2613189 w 4936948"/>
                <a:gd name="connsiteY45" fmla="*/ 1370374 h 6082821"/>
                <a:gd name="connsiteX46" fmla="*/ 2323757 w 4936948"/>
                <a:gd name="connsiteY46" fmla="*/ 1370374 h 6082821"/>
                <a:gd name="connsiteX47" fmla="*/ 2241461 w 4936948"/>
                <a:gd name="connsiteY47" fmla="*/ 1288078 h 6082821"/>
                <a:gd name="connsiteX48" fmla="*/ 2323757 w 4936948"/>
                <a:gd name="connsiteY48" fmla="*/ 1205782 h 6082821"/>
                <a:gd name="connsiteX49" fmla="*/ 2235111 w 4936948"/>
                <a:gd name="connsiteY49" fmla="*/ 729193 h 6082821"/>
                <a:gd name="connsiteX50" fmla="*/ 2701835 w 4936948"/>
                <a:gd name="connsiteY50" fmla="*/ 729193 h 6082821"/>
                <a:gd name="connsiteX51" fmla="*/ 2806610 w 4936948"/>
                <a:gd name="connsiteY51" fmla="*/ 833968 h 6082821"/>
                <a:gd name="connsiteX52" fmla="*/ 2701835 w 4936948"/>
                <a:gd name="connsiteY52" fmla="*/ 938743 h 6082821"/>
                <a:gd name="connsiteX53" fmla="*/ 2235111 w 4936948"/>
                <a:gd name="connsiteY53" fmla="*/ 938743 h 6082821"/>
                <a:gd name="connsiteX54" fmla="*/ 2130336 w 4936948"/>
                <a:gd name="connsiteY54" fmla="*/ 833968 h 6082821"/>
                <a:gd name="connsiteX55" fmla="*/ 2235111 w 4936948"/>
                <a:gd name="connsiteY55" fmla="*/ 729193 h 6082821"/>
                <a:gd name="connsiteX56" fmla="*/ 1781418 w 4936948"/>
                <a:gd name="connsiteY56" fmla="*/ 117278 h 6082821"/>
                <a:gd name="connsiteX57" fmla="*/ 1705869 w 4936948"/>
                <a:gd name="connsiteY57" fmla="*/ 465674 h 6082821"/>
                <a:gd name="connsiteX58" fmla="*/ 1878096 w 4936948"/>
                <a:gd name="connsiteY58" fmla="*/ 886666 h 6082821"/>
                <a:gd name="connsiteX59" fmla="*/ 1884260 w 4936948"/>
                <a:gd name="connsiteY59" fmla="*/ 2282312 h 6082821"/>
                <a:gd name="connsiteX60" fmla="*/ 384960 w 4936948"/>
                <a:gd name="connsiteY60" fmla="*/ 4995761 h 6082821"/>
                <a:gd name="connsiteX61" fmla="*/ 159746 w 4936948"/>
                <a:gd name="connsiteY61" fmla="*/ 5381428 h 6082821"/>
                <a:gd name="connsiteX62" fmla="*/ 681852 w 4936948"/>
                <a:gd name="connsiteY62" fmla="*/ 5962601 h 6082821"/>
                <a:gd name="connsiteX63" fmla="*/ 4255097 w 4936948"/>
                <a:gd name="connsiteY63" fmla="*/ 5962601 h 6082821"/>
                <a:gd name="connsiteX64" fmla="*/ 4789903 w 4936948"/>
                <a:gd name="connsiteY64" fmla="*/ 5483029 h 6082821"/>
                <a:gd name="connsiteX65" fmla="*/ 4534367 w 4936948"/>
                <a:gd name="connsiteY65" fmla="*/ 4959314 h 6082821"/>
                <a:gd name="connsiteX66" fmla="*/ 3049867 w 4936948"/>
                <a:gd name="connsiteY66" fmla="*/ 2290227 h 6082821"/>
                <a:gd name="connsiteX67" fmla="*/ 3056217 w 4936948"/>
                <a:gd name="connsiteY67" fmla="*/ 898765 h 6082821"/>
                <a:gd name="connsiteX68" fmla="*/ 3208077 w 4936948"/>
                <a:gd name="connsiteY68" fmla="*/ 483271 h 6082821"/>
                <a:gd name="connsiteX69" fmla="*/ 3160966 w 4936948"/>
                <a:gd name="connsiteY69" fmla="*/ 117278 h 6082821"/>
                <a:gd name="connsiteX70" fmla="*/ 1781418 w 4936948"/>
                <a:gd name="connsiteY70" fmla="*/ 117278 h 6082821"/>
                <a:gd name="connsiteX71" fmla="*/ 1635633 w 4936948"/>
                <a:gd name="connsiteY71" fmla="*/ 9018 h 6082821"/>
                <a:gd name="connsiteX72" fmla="*/ 3299987 w 4936948"/>
                <a:gd name="connsiteY72" fmla="*/ 9018 h 6082821"/>
                <a:gd name="connsiteX73" fmla="*/ 3373067 w 4936948"/>
                <a:gd name="connsiteY73" fmla="*/ 501838 h 6082821"/>
                <a:gd name="connsiteX74" fmla="*/ 3176514 w 4936948"/>
                <a:gd name="connsiteY74" fmla="*/ 869307 h 6082821"/>
                <a:gd name="connsiteX75" fmla="*/ 3176514 w 4936948"/>
                <a:gd name="connsiteY75" fmla="*/ 2262272 h 6082821"/>
                <a:gd name="connsiteX76" fmla="*/ 4731051 w 4936948"/>
                <a:gd name="connsiteY76" fmla="*/ 5061947 h 6082821"/>
                <a:gd name="connsiteX77" fmla="*/ 4933754 w 4936948"/>
                <a:gd name="connsiteY77" fmla="*/ 5427010 h 6082821"/>
                <a:gd name="connsiteX78" fmla="*/ 4936948 w 4936948"/>
                <a:gd name="connsiteY78" fmla="*/ 5432762 h 6082821"/>
                <a:gd name="connsiteX79" fmla="*/ 4936947 w 4936948"/>
                <a:gd name="connsiteY79" fmla="*/ 5458684 h 6082821"/>
                <a:gd name="connsiteX80" fmla="*/ 4936947 w 4936948"/>
                <a:gd name="connsiteY80" fmla="*/ 5595425 h 6082821"/>
                <a:gd name="connsiteX81" fmla="*/ 4449551 w 4936948"/>
                <a:gd name="connsiteY81" fmla="*/ 6082821 h 6082821"/>
                <a:gd name="connsiteX82" fmla="*/ 487396 w 4936948"/>
                <a:gd name="connsiteY82" fmla="*/ 6082821 h 6082821"/>
                <a:gd name="connsiteX83" fmla="*/ 0 w 4936948"/>
                <a:gd name="connsiteY83" fmla="*/ 5595425 h 6082821"/>
                <a:gd name="connsiteX84" fmla="*/ 0 w 4936948"/>
                <a:gd name="connsiteY84" fmla="*/ 5535082 h 6082821"/>
                <a:gd name="connsiteX85" fmla="*/ 0 w 4936948"/>
                <a:gd name="connsiteY85" fmla="*/ 5497668 h 6082821"/>
                <a:gd name="connsiteX86" fmla="*/ 196095 w 4936948"/>
                <a:gd name="connsiteY86" fmla="*/ 5064558 h 6082821"/>
                <a:gd name="connsiteX87" fmla="*/ 1766458 w 4936948"/>
                <a:gd name="connsiteY87" fmla="*/ 2279364 h 6082821"/>
                <a:gd name="connsiteX88" fmla="*/ 1766458 w 4936948"/>
                <a:gd name="connsiteY88" fmla="*/ 988949 h 6082821"/>
                <a:gd name="connsiteX89" fmla="*/ 1518630 w 4936948"/>
                <a:gd name="connsiteY89" fmla="*/ 433472 h 6082821"/>
                <a:gd name="connsiteX90" fmla="*/ 1635633 w 4936948"/>
                <a:gd name="connsiteY90" fmla="*/ 9018 h 6082821"/>
                <a:gd name="connsiteX0" fmla="*/ 1287892 w 4936948"/>
                <a:gd name="connsiteY0" fmla="*/ 3880974 h 6086367"/>
                <a:gd name="connsiteX1" fmla="*/ 3646531 w 4936948"/>
                <a:gd name="connsiteY1" fmla="*/ 3880974 h 6086367"/>
                <a:gd name="connsiteX2" fmla="*/ 4486186 w 4936948"/>
                <a:gd name="connsiteY2" fmla="*/ 5371414 h 6086367"/>
                <a:gd name="connsiteX3" fmla="*/ 4278920 w 4936948"/>
                <a:gd name="connsiteY3" fmla="*/ 5735411 h 6086367"/>
                <a:gd name="connsiteX4" fmla="*/ 664049 w 4936948"/>
                <a:gd name="connsiteY4" fmla="*/ 5735411 h 6086367"/>
                <a:gd name="connsiteX5" fmla="*/ 463341 w 4936948"/>
                <a:gd name="connsiteY5" fmla="*/ 5342305 h 6086367"/>
                <a:gd name="connsiteX6" fmla="*/ 1287892 w 4936948"/>
                <a:gd name="connsiteY6" fmla="*/ 3880974 h 6086367"/>
                <a:gd name="connsiteX7" fmla="*/ 2235111 w 4936948"/>
                <a:gd name="connsiteY7" fmla="*/ 3412439 h 6086367"/>
                <a:gd name="connsiteX8" fmla="*/ 2701835 w 4936948"/>
                <a:gd name="connsiteY8" fmla="*/ 3412439 h 6086367"/>
                <a:gd name="connsiteX9" fmla="*/ 2806610 w 4936948"/>
                <a:gd name="connsiteY9" fmla="*/ 3517214 h 6086367"/>
                <a:gd name="connsiteX10" fmla="*/ 2701835 w 4936948"/>
                <a:gd name="connsiteY10" fmla="*/ 3621989 h 6086367"/>
                <a:gd name="connsiteX11" fmla="*/ 2235111 w 4936948"/>
                <a:gd name="connsiteY11" fmla="*/ 3621989 h 6086367"/>
                <a:gd name="connsiteX12" fmla="*/ 2130336 w 4936948"/>
                <a:gd name="connsiteY12" fmla="*/ 3517214 h 6086367"/>
                <a:gd name="connsiteX13" fmla="*/ 2235111 w 4936948"/>
                <a:gd name="connsiteY13" fmla="*/ 3412439 h 6086367"/>
                <a:gd name="connsiteX14" fmla="*/ 2323757 w 4936948"/>
                <a:gd name="connsiteY14" fmla="*/ 2980810 h 6086367"/>
                <a:gd name="connsiteX15" fmla="*/ 2613189 w 4936948"/>
                <a:gd name="connsiteY15" fmla="*/ 2980810 h 6086367"/>
                <a:gd name="connsiteX16" fmla="*/ 2695485 w 4936948"/>
                <a:gd name="connsiteY16" fmla="*/ 3063106 h 6086367"/>
                <a:gd name="connsiteX17" fmla="*/ 2613189 w 4936948"/>
                <a:gd name="connsiteY17" fmla="*/ 3145402 h 6086367"/>
                <a:gd name="connsiteX18" fmla="*/ 2323757 w 4936948"/>
                <a:gd name="connsiteY18" fmla="*/ 3145402 h 6086367"/>
                <a:gd name="connsiteX19" fmla="*/ 2241461 w 4936948"/>
                <a:gd name="connsiteY19" fmla="*/ 3063106 h 6086367"/>
                <a:gd name="connsiteX20" fmla="*/ 2323757 w 4936948"/>
                <a:gd name="connsiteY20" fmla="*/ 2980810 h 6086367"/>
                <a:gd name="connsiteX21" fmla="*/ 2323757 w 4936948"/>
                <a:gd name="connsiteY21" fmla="*/ 2549179 h 6086367"/>
                <a:gd name="connsiteX22" fmla="*/ 2613189 w 4936948"/>
                <a:gd name="connsiteY22" fmla="*/ 2549179 h 6086367"/>
                <a:gd name="connsiteX23" fmla="*/ 2695485 w 4936948"/>
                <a:gd name="connsiteY23" fmla="*/ 2631475 h 6086367"/>
                <a:gd name="connsiteX24" fmla="*/ 2613189 w 4936948"/>
                <a:gd name="connsiteY24" fmla="*/ 2713771 h 6086367"/>
                <a:gd name="connsiteX25" fmla="*/ 2323757 w 4936948"/>
                <a:gd name="connsiteY25" fmla="*/ 2713771 h 6086367"/>
                <a:gd name="connsiteX26" fmla="*/ 2241461 w 4936948"/>
                <a:gd name="connsiteY26" fmla="*/ 2631475 h 6086367"/>
                <a:gd name="connsiteX27" fmla="*/ 2323757 w 4936948"/>
                <a:gd name="connsiteY27" fmla="*/ 2549179 h 6086367"/>
                <a:gd name="connsiteX28" fmla="*/ 2235111 w 4936948"/>
                <a:gd name="connsiteY28" fmla="*/ 2072590 h 6086367"/>
                <a:gd name="connsiteX29" fmla="*/ 2701835 w 4936948"/>
                <a:gd name="connsiteY29" fmla="*/ 2072590 h 6086367"/>
                <a:gd name="connsiteX30" fmla="*/ 2806610 w 4936948"/>
                <a:gd name="connsiteY30" fmla="*/ 2177365 h 6086367"/>
                <a:gd name="connsiteX31" fmla="*/ 2701835 w 4936948"/>
                <a:gd name="connsiteY31" fmla="*/ 2282140 h 6086367"/>
                <a:gd name="connsiteX32" fmla="*/ 2235111 w 4936948"/>
                <a:gd name="connsiteY32" fmla="*/ 2282140 h 6086367"/>
                <a:gd name="connsiteX33" fmla="*/ 2130336 w 4936948"/>
                <a:gd name="connsiteY33" fmla="*/ 2177365 h 6086367"/>
                <a:gd name="connsiteX34" fmla="*/ 2235111 w 4936948"/>
                <a:gd name="connsiteY34" fmla="*/ 2072590 h 6086367"/>
                <a:gd name="connsiteX35" fmla="*/ 2323757 w 4936948"/>
                <a:gd name="connsiteY35" fmla="*/ 1640959 h 6086367"/>
                <a:gd name="connsiteX36" fmla="*/ 2613189 w 4936948"/>
                <a:gd name="connsiteY36" fmla="*/ 1640959 h 6086367"/>
                <a:gd name="connsiteX37" fmla="*/ 2695485 w 4936948"/>
                <a:gd name="connsiteY37" fmla="*/ 1723255 h 6086367"/>
                <a:gd name="connsiteX38" fmla="*/ 2613189 w 4936948"/>
                <a:gd name="connsiteY38" fmla="*/ 1805551 h 6086367"/>
                <a:gd name="connsiteX39" fmla="*/ 2323757 w 4936948"/>
                <a:gd name="connsiteY39" fmla="*/ 1805551 h 6086367"/>
                <a:gd name="connsiteX40" fmla="*/ 2241461 w 4936948"/>
                <a:gd name="connsiteY40" fmla="*/ 1723255 h 6086367"/>
                <a:gd name="connsiteX41" fmla="*/ 2323757 w 4936948"/>
                <a:gd name="connsiteY41" fmla="*/ 1640959 h 6086367"/>
                <a:gd name="connsiteX42" fmla="*/ 2323757 w 4936948"/>
                <a:gd name="connsiteY42" fmla="*/ 1209328 h 6086367"/>
                <a:gd name="connsiteX43" fmla="*/ 2613189 w 4936948"/>
                <a:gd name="connsiteY43" fmla="*/ 1209328 h 6086367"/>
                <a:gd name="connsiteX44" fmla="*/ 2695485 w 4936948"/>
                <a:gd name="connsiteY44" fmla="*/ 1291624 h 6086367"/>
                <a:gd name="connsiteX45" fmla="*/ 2613189 w 4936948"/>
                <a:gd name="connsiteY45" fmla="*/ 1373920 h 6086367"/>
                <a:gd name="connsiteX46" fmla="*/ 2323757 w 4936948"/>
                <a:gd name="connsiteY46" fmla="*/ 1373920 h 6086367"/>
                <a:gd name="connsiteX47" fmla="*/ 2241461 w 4936948"/>
                <a:gd name="connsiteY47" fmla="*/ 1291624 h 6086367"/>
                <a:gd name="connsiteX48" fmla="*/ 2323757 w 4936948"/>
                <a:gd name="connsiteY48" fmla="*/ 1209328 h 6086367"/>
                <a:gd name="connsiteX49" fmla="*/ 2235111 w 4936948"/>
                <a:gd name="connsiteY49" fmla="*/ 732739 h 6086367"/>
                <a:gd name="connsiteX50" fmla="*/ 2701835 w 4936948"/>
                <a:gd name="connsiteY50" fmla="*/ 732739 h 6086367"/>
                <a:gd name="connsiteX51" fmla="*/ 2806610 w 4936948"/>
                <a:gd name="connsiteY51" fmla="*/ 837514 h 6086367"/>
                <a:gd name="connsiteX52" fmla="*/ 2701835 w 4936948"/>
                <a:gd name="connsiteY52" fmla="*/ 942289 h 6086367"/>
                <a:gd name="connsiteX53" fmla="*/ 2235111 w 4936948"/>
                <a:gd name="connsiteY53" fmla="*/ 942289 h 6086367"/>
                <a:gd name="connsiteX54" fmla="*/ 2130336 w 4936948"/>
                <a:gd name="connsiteY54" fmla="*/ 837514 h 6086367"/>
                <a:gd name="connsiteX55" fmla="*/ 2235111 w 4936948"/>
                <a:gd name="connsiteY55" fmla="*/ 732739 h 6086367"/>
                <a:gd name="connsiteX56" fmla="*/ 1781418 w 4936948"/>
                <a:gd name="connsiteY56" fmla="*/ 120824 h 6086367"/>
                <a:gd name="connsiteX57" fmla="*/ 1705869 w 4936948"/>
                <a:gd name="connsiteY57" fmla="*/ 469220 h 6086367"/>
                <a:gd name="connsiteX58" fmla="*/ 1878096 w 4936948"/>
                <a:gd name="connsiteY58" fmla="*/ 890212 h 6086367"/>
                <a:gd name="connsiteX59" fmla="*/ 1884260 w 4936948"/>
                <a:gd name="connsiteY59" fmla="*/ 2285858 h 6086367"/>
                <a:gd name="connsiteX60" fmla="*/ 384960 w 4936948"/>
                <a:gd name="connsiteY60" fmla="*/ 4999307 h 6086367"/>
                <a:gd name="connsiteX61" fmla="*/ 159746 w 4936948"/>
                <a:gd name="connsiteY61" fmla="*/ 5384974 h 6086367"/>
                <a:gd name="connsiteX62" fmla="*/ 681852 w 4936948"/>
                <a:gd name="connsiteY62" fmla="*/ 5966147 h 6086367"/>
                <a:gd name="connsiteX63" fmla="*/ 4255097 w 4936948"/>
                <a:gd name="connsiteY63" fmla="*/ 5966147 h 6086367"/>
                <a:gd name="connsiteX64" fmla="*/ 4789903 w 4936948"/>
                <a:gd name="connsiteY64" fmla="*/ 5486575 h 6086367"/>
                <a:gd name="connsiteX65" fmla="*/ 4534367 w 4936948"/>
                <a:gd name="connsiteY65" fmla="*/ 4962860 h 6086367"/>
                <a:gd name="connsiteX66" fmla="*/ 3049867 w 4936948"/>
                <a:gd name="connsiteY66" fmla="*/ 2293773 h 6086367"/>
                <a:gd name="connsiteX67" fmla="*/ 3056217 w 4936948"/>
                <a:gd name="connsiteY67" fmla="*/ 902311 h 6086367"/>
                <a:gd name="connsiteX68" fmla="*/ 3208077 w 4936948"/>
                <a:gd name="connsiteY68" fmla="*/ 486817 h 6086367"/>
                <a:gd name="connsiteX69" fmla="*/ 3160966 w 4936948"/>
                <a:gd name="connsiteY69" fmla="*/ 120824 h 6086367"/>
                <a:gd name="connsiteX70" fmla="*/ 1781418 w 4936948"/>
                <a:gd name="connsiteY70" fmla="*/ 120824 h 6086367"/>
                <a:gd name="connsiteX71" fmla="*/ 1635633 w 4936948"/>
                <a:gd name="connsiteY71" fmla="*/ 12564 h 6086367"/>
                <a:gd name="connsiteX72" fmla="*/ 3299987 w 4936948"/>
                <a:gd name="connsiteY72" fmla="*/ 12564 h 6086367"/>
                <a:gd name="connsiteX73" fmla="*/ 3373067 w 4936948"/>
                <a:gd name="connsiteY73" fmla="*/ 505384 h 6086367"/>
                <a:gd name="connsiteX74" fmla="*/ 3176514 w 4936948"/>
                <a:gd name="connsiteY74" fmla="*/ 872853 h 6086367"/>
                <a:gd name="connsiteX75" fmla="*/ 3176514 w 4936948"/>
                <a:gd name="connsiteY75" fmla="*/ 2265818 h 6086367"/>
                <a:gd name="connsiteX76" fmla="*/ 4731051 w 4936948"/>
                <a:gd name="connsiteY76" fmla="*/ 5065493 h 6086367"/>
                <a:gd name="connsiteX77" fmla="*/ 4933754 w 4936948"/>
                <a:gd name="connsiteY77" fmla="*/ 5430556 h 6086367"/>
                <a:gd name="connsiteX78" fmla="*/ 4936948 w 4936948"/>
                <a:gd name="connsiteY78" fmla="*/ 5436308 h 6086367"/>
                <a:gd name="connsiteX79" fmla="*/ 4936947 w 4936948"/>
                <a:gd name="connsiteY79" fmla="*/ 5462230 h 6086367"/>
                <a:gd name="connsiteX80" fmla="*/ 4936947 w 4936948"/>
                <a:gd name="connsiteY80" fmla="*/ 5598971 h 6086367"/>
                <a:gd name="connsiteX81" fmla="*/ 4449551 w 4936948"/>
                <a:gd name="connsiteY81" fmla="*/ 6086367 h 6086367"/>
                <a:gd name="connsiteX82" fmla="*/ 487396 w 4936948"/>
                <a:gd name="connsiteY82" fmla="*/ 6086367 h 6086367"/>
                <a:gd name="connsiteX83" fmla="*/ 0 w 4936948"/>
                <a:gd name="connsiteY83" fmla="*/ 5598971 h 6086367"/>
                <a:gd name="connsiteX84" fmla="*/ 0 w 4936948"/>
                <a:gd name="connsiteY84" fmla="*/ 5538628 h 6086367"/>
                <a:gd name="connsiteX85" fmla="*/ 0 w 4936948"/>
                <a:gd name="connsiteY85" fmla="*/ 5501214 h 6086367"/>
                <a:gd name="connsiteX86" fmla="*/ 196095 w 4936948"/>
                <a:gd name="connsiteY86" fmla="*/ 5068104 h 6086367"/>
                <a:gd name="connsiteX87" fmla="*/ 1766458 w 4936948"/>
                <a:gd name="connsiteY87" fmla="*/ 2282910 h 6086367"/>
                <a:gd name="connsiteX88" fmla="*/ 1766458 w 4936948"/>
                <a:gd name="connsiteY88" fmla="*/ 992495 h 6086367"/>
                <a:gd name="connsiteX89" fmla="*/ 1518630 w 4936948"/>
                <a:gd name="connsiteY89" fmla="*/ 437018 h 6086367"/>
                <a:gd name="connsiteX90" fmla="*/ 1635633 w 4936948"/>
                <a:gd name="connsiteY90" fmla="*/ 12564 h 6086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4936948" h="6086367">
                  <a:moveTo>
                    <a:pt x="1287892" y="3880974"/>
                  </a:moveTo>
                  <a:lnTo>
                    <a:pt x="3646531" y="3880974"/>
                  </a:lnTo>
                  <a:lnTo>
                    <a:pt x="4486186" y="5371414"/>
                  </a:lnTo>
                  <a:cubicBezTo>
                    <a:pt x="4621356" y="5698063"/>
                    <a:pt x="4353300" y="5732612"/>
                    <a:pt x="4278920" y="5735411"/>
                  </a:cubicBezTo>
                  <a:lnTo>
                    <a:pt x="664049" y="5735411"/>
                  </a:lnTo>
                  <a:cubicBezTo>
                    <a:pt x="441571" y="5718676"/>
                    <a:pt x="342919" y="5641615"/>
                    <a:pt x="463341" y="5342305"/>
                  </a:cubicBezTo>
                  <a:lnTo>
                    <a:pt x="1287892" y="3880974"/>
                  </a:lnTo>
                  <a:close/>
                  <a:moveTo>
                    <a:pt x="2235111" y="3412439"/>
                  </a:moveTo>
                  <a:lnTo>
                    <a:pt x="2701835" y="3412439"/>
                  </a:lnTo>
                  <a:cubicBezTo>
                    <a:pt x="2759701" y="3412439"/>
                    <a:pt x="2806610" y="3459348"/>
                    <a:pt x="2806610" y="3517214"/>
                  </a:cubicBezTo>
                  <a:cubicBezTo>
                    <a:pt x="2806610" y="3575080"/>
                    <a:pt x="2759701" y="3621989"/>
                    <a:pt x="2701835" y="3621989"/>
                  </a:cubicBezTo>
                  <a:lnTo>
                    <a:pt x="2235111" y="3621989"/>
                  </a:lnTo>
                  <a:cubicBezTo>
                    <a:pt x="2177245" y="3621989"/>
                    <a:pt x="2130336" y="3575080"/>
                    <a:pt x="2130336" y="3517214"/>
                  </a:cubicBezTo>
                  <a:cubicBezTo>
                    <a:pt x="2130336" y="3459348"/>
                    <a:pt x="2177245" y="3412439"/>
                    <a:pt x="2235111" y="3412439"/>
                  </a:cubicBezTo>
                  <a:close/>
                  <a:moveTo>
                    <a:pt x="2323757" y="2980810"/>
                  </a:moveTo>
                  <a:lnTo>
                    <a:pt x="2613189" y="2980810"/>
                  </a:lnTo>
                  <a:cubicBezTo>
                    <a:pt x="2658640" y="2980810"/>
                    <a:pt x="2695485" y="3017655"/>
                    <a:pt x="2695485" y="3063106"/>
                  </a:cubicBezTo>
                  <a:cubicBezTo>
                    <a:pt x="2695485" y="3108557"/>
                    <a:pt x="2658640" y="3145402"/>
                    <a:pt x="2613189" y="3145402"/>
                  </a:cubicBezTo>
                  <a:lnTo>
                    <a:pt x="2323757" y="3145402"/>
                  </a:lnTo>
                  <a:cubicBezTo>
                    <a:pt x="2278306" y="3145402"/>
                    <a:pt x="2241461" y="3108557"/>
                    <a:pt x="2241461" y="3063106"/>
                  </a:cubicBezTo>
                  <a:cubicBezTo>
                    <a:pt x="2241461" y="3017655"/>
                    <a:pt x="2278306" y="2980810"/>
                    <a:pt x="2323757" y="2980810"/>
                  </a:cubicBezTo>
                  <a:close/>
                  <a:moveTo>
                    <a:pt x="2323757" y="2549179"/>
                  </a:moveTo>
                  <a:lnTo>
                    <a:pt x="2613189" y="2549179"/>
                  </a:lnTo>
                  <a:cubicBezTo>
                    <a:pt x="2658640" y="2549179"/>
                    <a:pt x="2695485" y="2586024"/>
                    <a:pt x="2695485" y="2631475"/>
                  </a:cubicBezTo>
                  <a:cubicBezTo>
                    <a:pt x="2695485" y="2676926"/>
                    <a:pt x="2658640" y="2713771"/>
                    <a:pt x="2613189" y="2713771"/>
                  </a:cubicBezTo>
                  <a:lnTo>
                    <a:pt x="2323757" y="2713771"/>
                  </a:lnTo>
                  <a:cubicBezTo>
                    <a:pt x="2278306" y="2713771"/>
                    <a:pt x="2241461" y="2676926"/>
                    <a:pt x="2241461" y="2631475"/>
                  </a:cubicBezTo>
                  <a:cubicBezTo>
                    <a:pt x="2241461" y="2586024"/>
                    <a:pt x="2278306" y="2549179"/>
                    <a:pt x="2323757" y="2549179"/>
                  </a:cubicBezTo>
                  <a:close/>
                  <a:moveTo>
                    <a:pt x="2235111" y="2072590"/>
                  </a:moveTo>
                  <a:lnTo>
                    <a:pt x="2701835" y="2072590"/>
                  </a:lnTo>
                  <a:cubicBezTo>
                    <a:pt x="2759701" y="2072590"/>
                    <a:pt x="2806610" y="2119499"/>
                    <a:pt x="2806610" y="2177365"/>
                  </a:cubicBezTo>
                  <a:cubicBezTo>
                    <a:pt x="2806610" y="2235231"/>
                    <a:pt x="2759701" y="2282140"/>
                    <a:pt x="2701835" y="2282140"/>
                  </a:cubicBezTo>
                  <a:lnTo>
                    <a:pt x="2235111" y="2282140"/>
                  </a:lnTo>
                  <a:cubicBezTo>
                    <a:pt x="2177245" y="2282140"/>
                    <a:pt x="2130336" y="2235231"/>
                    <a:pt x="2130336" y="2177365"/>
                  </a:cubicBezTo>
                  <a:cubicBezTo>
                    <a:pt x="2130336" y="2119499"/>
                    <a:pt x="2177245" y="2072590"/>
                    <a:pt x="2235111" y="2072590"/>
                  </a:cubicBezTo>
                  <a:close/>
                  <a:moveTo>
                    <a:pt x="2323757" y="1640959"/>
                  </a:moveTo>
                  <a:lnTo>
                    <a:pt x="2613189" y="1640959"/>
                  </a:lnTo>
                  <a:cubicBezTo>
                    <a:pt x="2658640" y="1640959"/>
                    <a:pt x="2695485" y="1677804"/>
                    <a:pt x="2695485" y="1723255"/>
                  </a:cubicBezTo>
                  <a:cubicBezTo>
                    <a:pt x="2695485" y="1768706"/>
                    <a:pt x="2658640" y="1805551"/>
                    <a:pt x="2613189" y="1805551"/>
                  </a:cubicBezTo>
                  <a:lnTo>
                    <a:pt x="2323757" y="1805551"/>
                  </a:lnTo>
                  <a:cubicBezTo>
                    <a:pt x="2278306" y="1805551"/>
                    <a:pt x="2241461" y="1768706"/>
                    <a:pt x="2241461" y="1723255"/>
                  </a:cubicBezTo>
                  <a:cubicBezTo>
                    <a:pt x="2241461" y="1677804"/>
                    <a:pt x="2278306" y="1640959"/>
                    <a:pt x="2323757" y="1640959"/>
                  </a:cubicBezTo>
                  <a:close/>
                  <a:moveTo>
                    <a:pt x="2323757" y="1209328"/>
                  </a:moveTo>
                  <a:lnTo>
                    <a:pt x="2613189" y="1209328"/>
                  </a:lnTo>
                  <a:cubicBezTo>
                    <a:pt x="2658640" y="1209328"/>
                    <a:pt x="2695485" y="1246173"/>
                    <a:pt x="2695485" y="1291624"/>
                  </a:cubicBezTo>
                  <a:cubicBezTo>
                    <a:pt x="2695485" y="1337075"/>
                    <a:pt x="2658640" y="1373920"/>
                    <a:pt x="2613189" y="1373920"/>
                  </a:cubicBezTo>
                  <a:lnTo>
                    <a:pt x="2323757" y="1373920"/>
                  </a:lnTo>
                  <a:cubicBezTo>
                    <a:pt x="2278306" y="1373920"/>
                    <a:pt x="2241461" y="1337075"/>
                    <a:pt x="2241461" y="1291624"/>
                  </a:cubicBezTo>
                  <a:cubicBezTo>
                    <a:pt x="2241461" y="1246173"/>
                    <a:pt x="2278306" y="1209328"/>
                    <a:pt x="2323757" y="1209328"/>
                  </a:cubicBezTo>
                  <a:close/>
                  <a:moveTo>
                    <a:pt x="2235111" y="732739"/>
                  </a:moveTo>
                  <a:lnTo>
                    <a:pt x="2701835" y="732739"/>
                  </a:lnTo>
                  <a:cubicBezTo>
                    <a:pt x="2759701" y="732739"/>
                    <a:pt x="2806610" y="779648"/>
                    <a:pt x="2806610" y="837514"/>
                  </a:cubicBezTo>
                  <a:cubicBezTo>
                    <a:pt x="2806610" y="895380"/>
                    <a:pt x="2759701" y="942289"/>
                    <a:pt x="2701835" y="942289"/>
                  </a:cubicBezTo>
                  <a:lnTo>
                    <a:pt x="2235111" y="942289"/>
                  </a:lnTo>
                  <a:cubicBezTo>
                    <a:pt x="2177245" y="942289"/>
                    <a:pt x="2130336" y="895380"/>
                    <a:pt x="2130336" y="837514"/>
                  </a:cubicBezTo>
                  <a:cubicBezTo>
                    <a:pt x="2130336" y="779648"/>
                    <a:pt x="2177245" y="732739"/>
                    <a:pt x="2235111" y="732739"/>
                  </a:cubicBezTo>
                  <a:close/>
                  <a:moveTo>
                    <a:pt x="1781418" y="120824"/>
                  </a:moveTo>
                  <a:cubicBezTo>
                    <a:pt x="1698272" y="119884"/>
                    <a:pt x="1371993" y="171898"/>
                    <a:pt x="1705869" y="469220"/>
                  </a:cubicBezTo>
                  <a:cubicBezTo>
                    <a:pt x="1797140" y="581096"/>
                    <a:pt x="1862971" y="545459"/>
                    <a:pt x="1878096" y="890212"/>
                  </a:cubicBezTo>
                  <a:cubicBezTo>
                    <a:pt x="1880665" y="1304967"/>
                    <a:pt x="1881690" y="1871103"/>
                    <a:pt x="1884260" y="2285858"/>
                  </a:cubicBezTo>
                  <a:cubicBezTo>
                    <a:pt x="1477920" y="3070573"/>
                    <a:pt x="718358" y="4325065"/>
                    <a:pt x="384960" y="4999307"/>
                  </a:cubicBezTo>
                  <a:lnTo>
                    <a:pt x="159746" y="5384974"/>
                  </a:lnTo>
                  <a:cubicBezTo>
                    <a:pt x="15937" y="5947621"/>
                    <a:pt x="439093" y="5966147"/>
                    <a:pt x="681852" y="5966147"/>
                  </a:cubicBezTo>
                  <a:lnTo>
                    <a:pt x="4255097" y="5966147"/>
                  </a:lnTo>
                  <a:cubicBezTo>
                    <a:pt x="4497857" y="5966147"/>
                    <a:pt x="4853403" y="5928571"/>
                    <a:pt x="4789903" y="5486575"/>
                  </a:cubicBezTo>
                  <a:cubicBezTo>
                    <a:pt x="4756015" y="5317243"/>
                    <a:pt x="4671974" y="5215595"/>
                    <a:pt x="4534367" y="4962860"/>
                  </a:cubicBezTo>
                  <a:lnTo>
                    <a:pt x="3049867" y="2293773"/>
                  </a:lnTo>
                  <a:cubicBezTo>
                    <a:pt x="3051984" y="1829952"/>
                    <a:pt x="3054100" y="1366132"/>
                    <a:pt x="3056217" y="902311"/>
                  </a:cubicBezTo>
                  <a:cubicBezTo>
                    <a:pt x="3048510" y="790436"/>
                    <a:pt x="3060289" y="575128"/>
                    <a:pt x="3208077" y="486817"/>
                  </a:cubicBezTo>
                  <a:cubicBezTo>
                    <a:pt x="3362733" y="388764"/>
                    <a:pt x="3501447" y="134524"/>
                    <a:pt x="3160966" y="120824"/>
                  </a:cubicBezTo>
                  <a:lnTo>
                    <a:pt x="1781418" y="120824"/>
                  </a:lnTo>
                  <a:close/>
                  <a:moveTo>
                    <a:pt x="1635633" y="12564"/>
                  </a:moveTo>
                  <a:cubicBezTo>
                    <a:pt x="1666545" y="-6487"/>
                    <a:pt x="3259553" y="-1723"/>
                    <a:pt x="3299987" y="12564"/>
                  </a:cubicBezTo>
                  <a:cubicBezTo>
                    <a:pt x="3648391" y="182694"/>
                    <a:pt x="3464766" y="424474"/>
                    <a:pt x="3373067" y="505384"/>
                  </a:cubicBezTo>
                  <a:cubicBezTo>
                    <a:pt x="3202152" y="630722"/>
                    <a:pt x="3167968" y="756060"/>
                    <a:pt x="3176514" y="872853"/>
                  </a:cubicBezTo>
                  <a:lnTo>
                    <a:pt x="3176514" y="2265818"/>
                  </a:lnTo>
                  <a:lnTo>
                    <a:pt x="4731051" y="5065493"/>
                  </a:lnTo>
                  <a:cubicBezTo>
                    <a:pt x="4809684" y="5185374"/>
                    <a:pt x="4876195" y="5293780"/>
                    <a:pt x="4933754" y="5430556"/>
                  </a:cubicBezTo>
                  <a:lnTo>
                    <a:pt x="4936948" y="5436308"/>
                  </a:lnTo>
                  <a:cubicBezTo>
                    <a:pt x="4936948" y="5444949"/>
                    <a:pt x="4936947" y="5453589"/>
                    <a:pt x="4936947" y="5462230"/>
                  </a:cubicBezTo>
                  <a:lnTo>
                    <a:pt x="4936947" y="5598971"/>
                  </a:lnTo>
                  <a:cubicBezTo>
                    <a:pt x="4936947" y="5868152"/>
                    <a:pt x="4718732" y="6086367"/>
                    <a:pt x="4449551" y="6086367"/>
                  </a:cubicBezTo>
                  <a:lnTo>
                    <a:pt x="487396" y="6086367"/>
                  </a:lnTo>
                  <a:cubicBezTo>
                    <a:pt x="218215" y="6086367"/>
                    <a:pt x="9525" y="5868152"/>
                    <a:pt x="0" y="5598971"/>
                  </a:cubicBezTo>
                  <a:lnTo>
                    <a:pt x="0" y="5538628"/>
                  </a:lnTo>
                  <a:lnTo>
                    <a:pt x="0" y="5501214"/>
                  </a:lnTo>
                  <a:cubicBezTo>
                    <a:pt x="23296" y="5337000"/>
                    <a:pt x="127555" y="5196600"/>
                    <a:pt x="196095" y="5068104"/>
                  </a:cubicBezTo>
                  <a:cubicBezTo>
                    <a:pt x="565779" y="4364223"/>
                    <a:pt x="1315892" y="3102120"/>
                    <a:pt x="1766458" y="2282910"/>
                  </a:cubicBezTo>
                  <a:cubicBezTo>
                    <a:pt x="1763609" y="1849923"/>
                    <a:pt x="1769307" y="1425482"/>
                    <a:pt x="1766458" y="992495"/>
                  </a:cubicBezTo>
                  <a:cubicBezTo>
                    <a:pt x="1777852" y="619329"/>
                    <a:pt x="1626877" y="553811"/>
                    <a:pt x="1518630" y="437018"/>
                  </a:cubicBezTo>
                  <a:cubicBezTo>
                    <a:pt x="1323839" y="214065"/>
                    <a:pt x="1506086" y="72320"/>
                    <a:pt x="1635633" y="12564"/>
                  </a:cubicBezTo>
                  <a:close/>
                </a:path>
              </a:pathLst>
            </a:cu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/>
            </a:p>
          </p:txBody>
        </p:sp>
        <p:grpSp>
          <p:nvGrpSpPr>
            <p:cNvPr id="4" name="Group 3"/>
            <p:cNvGrpSpPr/>
            <p:nvPr/>
          </p:nvGrpSpPr>
          <p:grpSpPr>
            <a:xfrm flipH="1">
              <a:off x="2159398" y="2521008"/>
              <a:ext cx="663113" cy="658654"/>
              <a:chOff x="1507514" y="5277255"/>
              <a:chExt cx="663113" cy="658654"/>
            </a:xfrm>
          </p:grpSpPr>
          <p:sp>
            <p:nvSpPr>
              <p:cNvPr id="14" name="Freeform 49"/>
              <p:cNvSpPr>
                <a:spLocks noEditPoints="1"/>
              </p:cNvSpPr>
              <p:nvPr/>
            </p:nvSpPr>
            <p:spPr bwMode="black">
              <a:xfrm>
                <a:off x="1507514" y="5277255"/>
                <a:ext cx="663113" cy="658654"/>
              </a:xfrm>
              <a:custGeom>
                <a:avLst/>
                <a:gdLst>
                  <a:gd name="T0" fmla="*/ 162 w 196"/>
                  <a:gd name="T1" fmla="*/ 195 h 195"/>
                  <a:gd name="T2" fmla="*/ 186 w 196"/>
                  <a:gd name="T3" fmla="*/ 185 h 195"/>
                  <a:gd name="T4" fmla="*/ 196 w 196"/>
                  <a:gd name="T5" fmla="*/ 161 h 195"/>
                  <a:gd name="T6" fmla="*/ 186 w 196"/>
                  <a:gd name="T7" fmla="*/ 138 h 195"/>
                  <a:gd name="T8" fmla="*/ 80 w 196"/>
                  <a:gd name="T9" fmla="*/ 32 h 195"/>
                  <a:gd name="T10" fmla="*/ 72 w 196"/>
                  <a:gd name="T11" fmla="*/ 0 h 195"/>
                  <a:gd name="T12" fmla="*/ 66 w 196"/>
                  <a:gd name="T13" fmla="*/ 6 h 195"/>
                  <a:gd name="T14" fmla="*/ 48 w 196"/>
                  <a:gd name="T15" fmla="*/ 24 h 195"/>
                  <a:gd name="T16" fmla="*/ 38 w 196"/>
                  <a:gd name="T17" fmla="*/ 15 h 195"/>
                  <a:gd name="T18" fmla="*/ 15 w 196"/>
                  <a:gd name="T19" fmla="*/ 38 h 195"/>
                  <a:gd name="T20" fmla="*/ 25 w 196"/>
                  <a:gd name="T21" fmla="*/ 47 h 195"/>
                  <a:gd name="T22" fmla="*/ 0 w 196"/>
                  <a:gd name="T23" fmla="*/ 72 h 195"/>
                  <a:gd name="T24" fmla="*/ 33 w 196"/>
                  <a:gd name="T25" fmla="*/ 80 h 195"/>
                  <a:gd name="T26" fmla="*/ 138 w 196"/>
                  <a:gd name="T27" fmla="*/ 185 h 195"/>
                  <a:gd name="T28" fmla="*/ 162 w 196"/>
                  <a:gd name="T29" fmla="*/ 195 h 195"/>
                  <a:gd name="T30" fmla="*/ 20 w 196"/>
                  <a:gd name="T31" fmla="*/ 66 h 195"/>
                  <a:gd name="T32" fmla="*/ 67 w 196"/>
                  <a:gd name="T33" fmla="*/ 19 h 195"/>
                  <a:gd name="T34" fmla="*/ 71 w 196"/>
                  <a:gd name="T35" fmla="*/ 37 h 195"/>
                  <a:gd name="T36" fmla="*/ 179 w 196"/>
                  <a:gd name="T37" fmla="*/ 145 h 195"/>
                  <a:gd name="T38" fmla="*/ 186 w 196"/>
                  <a:gd name="T39" fmla="*/ 161 h 195"/>
                  <a:gd name="T40" fmla="*/ 179 w 196"/>
                  <a:gd name="T41" fmla="*/ 178 h 195"/>
                  <a:gd name="T42" fmla="*/ 162 w 196"/>
                  <a:gd name="T43" fmla="*/ 185 h 195"/>
                  <a:gd name="T44" fmla="*/ 145 w 196"/>
                  <a:gd name="T45" fmla="*/ 178 h 195"/>
                  <a:gd name="T46" fmla="*/ 38 w 196"/>
                  <a:gd name="T47" fmla="*/ 71 h 195"/>
                  <a:gd name="T48" fmla="*/ 20 w 196"/>
                  <a:gd name="T49" fmla="*/ 66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6" h="195">
                    <a:moveTo>
                      <a:pt x="162" y="195"/>
                    </a:moveTo>
                    <a:cubicBezTo>
                      <a:pt x="171" y="195"/>
                      <a:pt x="179" y="192"/>
                      <a:pt x="186" y="185"/>
                    </a:cubicBezTo>
                    <a:cubicBezTo>
                      <a:pt x="192" y="179"/>
                      <a:pt x="196" y="170"/>
                      <a:pt x="196" y="161"/>
                    </a:cubicBezTo>
                    <a:cubicBezTo>
                      <a:pt x="196" y="153"/>
                      <a:pt x="192" y="144"/>
                      <a:pt x="186" y="138"/>
                    </a:cubicBezTo>
                    <a:cubicBezTo>
                      <a:pt x="80" y="32"/>
                      <a:pt x="80" y="32"/>
                      <a:pt x="80" y="32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138" y="185"/>
                      <a:pt x="138" y="185"/>
                      <a:pt x="138" y="185"/>
                    </a:cubicBezTo>
                    <a:cubicBezTo>
                      <a:pt x="145" y="192"/>
                      <a:pt x="153" y="195"/>
                      <a:pt x="162" y="195"/>
                    </a:cubicBezTo>
                    <a:close/>
                    <a:moveTo>
                      <a:pt x="20" y="66"/>
                    </a:moveTo>
                    <a:cubicBezTo>
                      <a:pt x="67" y="19"/>
                      <a:pt x="67" y="19"/>
                      <a:pt x="67" y="19"/>
                    </a:cubicBezTo>
                    <a:cubicBezTo>
                      <a:pt x="71" y="37"/>
                      <a:pt x="71" y="37"/>
                      <a:pt x="71" y="37"/>
                    </a:cubicBezTo>
                    <a:cubicBezTo>
                      <a:pt x="179" y="145"/>
                      <a:pt x="179" y="145"/>
                      <a:pt x="179" y="145"/>
                    </a:cubicBezTo>
                    <a:cubicBezTo>
                      <a:pt x="183" y="149"/>
                      <a:pt x="186" y="155"/>
                      <a:pt x="186" y="161"/>
                    </a:cubicBezTo>
                    <a:cubicBezTo>
                      <a:pt x="186" y="168"/>
                      <a:pt x="183" y="174"/>
                      <a:pt x="179" y="178"/>
                    </a:cubicBezTo>
                    <a:cubicBezTo>
                      <a:pt x="174" y="183"/>
                      <a:pt x="168" y="185"/>
                      <a:pt x="162" y="185"/>
                    </a:cubicBezTo>
                    <a:cubicBezTo>
                      <a:pt x="156" y="185"/>
                      <a:pt x="150" y="183"/>
                      <a:pt x="145" y="178"/>
                    </a:cubicBezTo>
                    <a:cubicBezTo>
                      <a:pt x="38" y="71"/>
                      <a:pt x="38" y="71"/>
                      <a:pt x="38" y="71"/>
                    </a:cubicBezTo>
                    <a:lnTo>
                      <a:pt x="20" y="6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15" name="Freeform 50"/>
              <p:cNvSpPr>
                <a:spLocks noEditPoints="1"/>
              </p:cNvSpPr>
              <p:nvPr/>
            </p:nvSpPr>
            <p:spPr bwMode="black">
              <a:xfrm>
                <a:off x="1720456" y="5564434"/>
                <a:ext cx="391579" cy="314325"/>
              </a:xfrm>
              <a:custGeom>
                <a:avLst/>
                <a:gdLst>
                  <a:gd name="T0" fmla="*/ 110 w 116"/>
                  <a:gd name="T1" fmla="*/ 87 h 93"/>
                  <a:gd name="T2" fmla="*/ 110 w 116"/>
                  <a:gd name="T3" fmla="*/ 65 h 93"/>
                  <a:gd name="T4" fmla="*/ 44 w 116"/>
                  <a:gd name="T5" fmla="*/ 0 h 93"/>
                  <a:gd name="T6" fmla="*/ 0 w 116"/>
                  <a:gd name="T7" fmla="*/ 0 h 93"/>
                  <a:gd name="T8" fmla="*/ 88 w 116"/>
                  <a:gd name="T9" fmla="*/ 87 h 93"/>
                  <a:gd name="T10" fmla="*/ 110 w 116"/>
                  <a:gd name="T11" fmla="*/ 87 h 93"/>
                  <a:gd name="T12" fmla="*/ 33 w 116"/>
                  <a:gd name="T13" fmla="*/ 20 h 93"/>
                  <a:gd name="T14" fmla="*/ 27 w 116"/>
                  <a:gd name="T15" fmla="*/ 20 h 93"/>
                  <a:gd name="T16" fmla="*/ 27 w 116"/>
                  <a:gd name="T17" fmla="*/ 14 h 93"/>
                  <a:gd name="T18" fmla="*/ 33 w 116"/>
                  <a:gd name="T19" fmla="*/ 14 h 93"/>
                  <a:gd name="T20" fmla="*/ 33 w 116"/>
                  <a:gd name="T21" fmla="*/ 20 h 93"/>
                  <a:gd name="T22" fmla="*/ 58 w 116"/>
                  <a:gd name="T23" fmla="*/ 39 h 93"/>
                  <a:gd name="T24" fmla="*/ 54 w 116"/>
                  <a:gd name="T25" fmla="*/ 39 h 93"/>
                  <a:gd name="T26" fmla="*/ 54 w 116"/>
                  <a:gd name="T27" fmla="*/ 35 h 93"/>
                  <a:gd name="T28" fmla="*/ 58 w 116"/>
                  <a:gd name="T29" fmla="*/ 35 h 93"/>
                  <a:gd name="T30" fmla="*/ 58 w 116"/>
                  <a:gd name="T31" fmla="*/ 39 h 93"/>
                  <a:gd name="T32" fmla="*/ 76 w 116"/>
                  <a:gd name="T33" fmla="*/ 44 h 93"/>
                  <a:gd name="T34" fmla="*/ 82 w 116"/>
                  <a:gd name="T35" fmla="*/ 44 h 93"/>
                  <a:gd name="T36" fmla="*/ 82 w 116"/>
                  <a:gd name="T37" fmla="*/ 50 h 93"/>
                  <a:gd name="T38" fmla="*/ 76 w 116"/>
                  <a:gd name="T39" fmla="*/ 50 h 93"/>
                  <a:gd name="T40" fmla="*/ 76 w 116"/>
                  <a:gd name="T41" fmla="*/ 44 h 93"/>
                  <a:gd name="T42" fmla="*/ 84 w 116"/>
                  <a:gd name="T43" fmla="*/ 63 h 93"/>
                  <a:gd name="T44" fmla="*/ 80 w 116"/>
                  <a:gd name="T45" fmla="*/ 63 h 93"/>
                  <a:gd name="T46" fmla="*/ 80 w 116"/>
                  <a:gd name="T47" fmla="*/ 59 h 93"/>
                  <a:gd name="T48" fmla="*/ 84 w 116"/>
                  <a:gd name="T49" fmla="*/ 59 h 93"/>
                  <a:gd name="T50" fmla="*/ 84 w 116"/>
                  <a:gd name="T51" fmla="*/ 6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6" h="93">
                    <a:moveTo>
                      <a:pt x="110" y="87"/>
                    </a:moveTo>
                    <a:cubicBezTo>
                      <a:pt x="116" y="81"/>
                      <a:pt x="116" y="71"/>
                      <a:pt x="110" y="65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8" y="87"/>
                      <a:pt x="88" y="87"/>
                      <a:pt x="88" y="87"/>
                    </a:cubicBezTo>
                    <a:cubicBezTo>
                      <a:pt x="94" y="93"/>
                      <a:pt x="104" y="93"/>
                      <a:pt x="110" y="87"/>
                    </a:cubicBezTo>
                    <a:close/>
                    <a:moveTo>
                      <a:pt x="33" y="20"/>
                    </a:moveTo>
                    <a:cubicBezTo>
                      <a:pt x="31" y="22"/>
                      <a:pt x="28" y="22"/>
                      <a:pt x="27" y="20"/>
                    </a:cubicBezTo>
                    <a:cubicBezTo>
                      <a:pt x="25" y="18"/>
                      <a:pt x="25" y="16"/>
                      <a:pt x="27" y="14"/>
                    </a:cubicBezTo>
                    <a:cubicBezTo>
                      <a:pt x="28" y="12"/>
                      <a:pt x="31" y="12"/>
                      <a:pt x="33" y="14"/>
                    </a:cubicBezTo>
                    <a:cubicBezTo>
                      <a:pt x="34" y="16"/>
                      <a:pt x="34" y="18"/>
                      <a:pt x="33" y="20"/>
                    </a:cubicBezTo>
                    <a:close/>
                    <a:moveTo>
                      <a:pt x="58" y="39"/>
                    </a:moveTo>
                    <a:cubicBezTo>
                      <a:pt x="57" y="41"/>
                      <a:pt x="55" y="41"/>
                      <a:pt x="54" y="39"/>
                    </a:cubicBezTo>
                    <a:cubicBezTo>
                      <a:pt x="53" y="38"/>
                      <a:pt x="53" y="36"/>
                      <a:pt x="54" y="35"/>
                    </a:cubicBezTo>
                    <a:cubicBezTo>
                      <a:pt x="55" y="34"/>
                      <a:pt x="57" y="34"/>
                      <a:pt x="58" y="35"/>
                    </a:cubicBezTo>
                    <a:cubicBezTo>
                      <a:pt x="60" y="36"/>
                      <a:pt x="60" y="38"/>
                      <a:pt x="58" y="39"/>
                    </a:cubicBezTo>
                    <a:close/>
                    <a:moveTo>
                      <a:pt x="76" y="44"/>
                    </a:moveTo>
                    <a:cubicBezTo>
                      <a:pt x="78" y="43"/>
                      <a:pt x="80" y="43"/>
                      <a:pt x="82" y="44"/>
                    </a:cubicBezTo>
                    <a:cubicBezTo>
                      <a:pt x="84" y="46"/>
                      <a:pt x="84" y="49"/>
                      <a:pt x="82" y="50"/>
                    </a:cubicBezTo>
                    <a:cubicBezTo>
                      <a:pt x="80" y="52"/>
                      <a:pt x="78" y="52"/>
                      <a:pt x="76" y="50"/>
                    </a:cubicBezTo>
                    <a:cubicBezTo>
                      <a:pt x="74" y="49"/>
                      <a:pt x="74" y="46"/>
                      <a:pt x="76" y="44"/>
                    </a:cubicBezTo>
                    <a:close/>
                    <a:moveTo>
                      <a:pt x="84" y="63"/>
                    </a:moveTo>
                    <a:cubicBezTo>
                      <a:pt x="83" y="64"/>
                      <a:pt x="81" y="64"/>
                      <a:pt x="80" y="63"/>
                    </a:cubicBezTo>
                    <a:cubicBezTo>
                      <a:pt x="79" y="62"/>
                      <a:pt x="79" y="60"/>
                      <a:pt x="80" y="59"/>
                    </a:cubicBezTo>
                    <a:cubicBezTo>
                      <a:pt x="81" y="57"/>
                      <a:pt x="83" y="57"/>
                      <a:pt x="84" y="59"/>
                    </a:cubicBezTo>
                    <a:cubicBezTo>
                      <a:pt x="85" y="60"/>
                      <a:pt x="85" y="62"/>
                      <a:pt x="84" y="6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</p:grpSp>
      <p:sp>
        <p:nvSpPr>
          <p:cNvPr id="17" name="Rectangle 16"/>
          <p:cNvSpPr/>
          <p:nvPr/>
        </p:nvSpPr>
        <p:spPr>
          <a:xfrm>
            <a:off x="371475" y="1066800"/>
            <a:ext cx="4410075" cy="523875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76800" y="1066800"/>
            <a:ext cx="6943725" cy="1698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Management Consulting Pedigre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876800" y="2836933"/>
            <a:ext cx="6943725" cy="1698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pecialist Microsoft Cloud (Azure) Expertise</a:t>
            </a:r>
            <a:b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for Advanced Analytics, Data, and Cognitive Servic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876800" y="4607066"/>
            <a:ext cx="6943725" cy="1698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Deep and meaningful MSFT technical/Product Group access</a:t>
            </a:r>
          </a:p>
        </p:txBody>
      </p:sp>
      <p:sp>
        <p:nvSpPr>
          <p:cNvPr id="27" name="Oval 26"/>
          <p:cNvSpPr/>
          <p:nvPr/>
        </p:nvSpPr>
        <p:spPr>
          <a:xfrm>
            <a:off x="8044791" y="2497238"/>
            <a:ext cx="607742" cy="607742"/>
          </a:xfrm>
          <a:prstGeom prst="ellipse">
            <a:avLst/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algn="ctr"/>
            <a:r>
              <a:rPr lang="en-US" sz="3600" dirty="0">
                <a:solidFill>
                  <a:schemeClr val="bg1">
                    <a:lumMod val="65000"/>
                  </a:schemeClr>
                </a:solidFill>
                <a:latin typeface="+mn-lt"/>
                <a:sym typeface="Wingdings 2" panose="05020102010507070707" pitchFamily="18" charset="2"/>
              </a:rPr>
              <a:t></a:t>
            </a:r>
            <a:endParaRPr lang="en-US" sz="140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8044430" y="4267200"/>
            <a:ext cx="608084" cy="608084"/>
          </a:xfrm>
          <a:prstGeom prst="ellipse">
            <a:avLst/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lvl="0" algn="ctr"/>
            <a:r>
              <a:rPr lang="en-US" sz="3600" dirty="0">
                <a:solidFill>
                  <a:schemeClr val="bg1">
                    <a:lumMod val="65000"/>
                  </a:schemeClr>
                </a:solidFill>
                <a:sym typeface="Wingdings 2" panose="05020102010507070707" pitchFamily="18" charset="2"/>
              </a:rPr>
              <a:t></a:t>
            </a:r>
            <a:endParaRPr lang="en-US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26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9569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27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849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92500" y="173212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8221" y="1732120"/>
            <a:ext cx="11391830" cy="5770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bout Neal Analytics (Company Background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92499" y="2397439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8220" y="2397439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view of Your Current Situation/Objective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92500" y="30627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38221" y="30627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sign Principles </a:t>
            </a: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nd Architectur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 Break	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92499" y="372803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55707" y="37280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t Demos –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nA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Maker Bot (OOTB), REI Bot (OOTB), Decision Tree Bot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92499" y="4385218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38220" y="4385218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&amp;A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92499" y="1066800"/>
            <a:ext cx="45720" cy="577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18288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cs typeface="Segoe UI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38220" y="1066800"/>
            <a:ext cx="11391830" cy="577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anchor="ctr">
            <a:noAutofit/>
          </a:bodyPr>
          <a:lstStyle/>
          <a:p>
            <a:pPr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811823" y="2455152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635492" y="3120431"/>
            <a:ext cx="11945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 min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673818" y="3785751"/>
            <a:ext cx="11737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5 min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669155" y="4442931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mi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811822" y="1789791"/>
            <a:ext cx="10182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000000">
                  <a:lumMod val="75000"/>
                  <a:lumOff val="25000"/>
                </a:srgbClr>
              </a:buClr>
              <a:buSzPct val="100000"/>
            </a:pPr>
            <a:r>
              <a:rPr lang="en-US" sz="2400" i="1" dirty="0">
                <a:solidFill>
                  <a:srgbClr val="000000">
                    <a:lumMod val="75000"/>
                    <a:lumOff val="25000"/>
                  </a:srgb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 mi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051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6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are a specialist, Microsoft-exclusive SI(1)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80904" y="1072213"/>
            <a:ext cx="4467322" cy="235095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0904" y="3964221"/>
            <a:ext cx="4467322" cy="235095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 dirty="0">
              <a:solidFill>
                <a:srgbClr val="00000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252710" y="3331838"/>
            <a:ext cx="723711" cy="723711"/>
            <a:chOff x="5738813" y="1209675"/>
            <a:chExt cx="723900" cy="723900"/>
          </a:xfrm>
        </p:grpSpPr>
        <p:sp>
          <p:nvSpPr>
            <p:cNvPr id="14" name="Oval 13"/>
            <p:cNvSpPr/>
            <p:nvPr/>
          </p:nvSpPr>
          <p:spPr>
            <a:xfrm>
              <a:off x="5738813" y="1209675"/>
              <a:ext cx="723900" cy="7239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5" name="Plus 14"/>
            <p:cNvSpPr/>
            <p:nvPr/>
          </p:nvSpPr>
          <p:spPr>
            <a:xfrm>
              <a:off x="5810251" y="1281113"/>
              <a:ext cx="581024" cy="581024"/>
            </a:xfrm>
            <a:prstGeom prst="mathPlus">
              <a:avLst>
                <a:gd name="adj1" fmla="val 20241"/>
              </a:avLst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899" y="1212504"/>
            <a:ext cx="3494577" cy="999913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1" t="14931" r="7431" b="14931"/>
          <a:stretch/>
        </p:blipFill>
        <p:spPr>
          <a:xfrm>
            <a:off x="846899" y="4347986"/>
            <a:ext cx="3752974" cy="1136967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6720012" y="1072213"/>
            <a:ext cx="5111533" cy="96153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rive business value with Data/Cognitive Services, IoT, and Analytics on the Microsoft platform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720012" y="3212704"/>
            <a:ext cx="5110400" cy="96175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ur objective is to make Data/Cognitive services, IoT, and analytics accessible to institutions of all sizes across our verticals. Our team specializes in creation of analytical practices to help companies grow and scal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720012" y="2142349"/>
            <a:ext cx="5110400" cy="96175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are growing, Seattle-based company with 43 management consultants, application developers, data engineers, and data scientists that have helped dozens of customers improve their businesses. We were founded in 2011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720012" y="4283059"/>
            <a:ext cx="5110400" cy="96175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are a Microsoft partner that has deep and meaningful relationships within the Microsoft Product Groups and Sales Organizations. We enjoy a two-way sharing of ideas and best practic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720012" y="5353416"/>
            <a:ext cx="5110400" cy="96175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plication Development and Integration, Cognitive Services Integration, Decision modelling, field management, process and machine optimization, and predictive success managemen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995910" y="2142514"/>
            <a:ext cx="1724122" cy="961758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IN" sz="16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ur Company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995910" y="3212815"/>
            <a:ext cx="1724122" cy="961758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IN" sz="16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ndustry Alignment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995910" y="4283116"/>
            <a:ext cx="1724122" cy="961758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IN" sz="16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artnership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995910" y="5353416"/>
            <a:ext cx="1724122" cy="961758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IN" sz="16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ic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995910" y="1072213"/>
            <a:ext cx="1724122" cy="961758"/>
          </a:xfrm>
          <a:prstGeom prst="rect">
            <a:avLst/>
          </a:prstGeom>
          <a:solidFill>
            <a:srgbClr val="0074AF"/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IN" sz="160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ur Mission</a:t>
            </a:r>
          </a:p>
        </p:txBody>
      </p:sp>
      <p:sp>
        <p:nvSpPr>
          <p:cNvPr id="35" name="Freeform 34"/>
          <p:cNvSpPr>
            <a:spLocks noEditPoints="1"/>
          </p:cNvSpPr>
          <p:nvPr/>
        </p:nvSpPr>
        <p:spPr bwMode="black">
          <a:xfrm>
            <a:off x="6339995" y="1666982"/>
            <a:ext cx="329649" cy="329563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sp>
        <p:nvSpPr>
          <p:cNvPr id="36" name="Freeform 35"/>
          <p:cNvSpPr/>
          <p:nvPr/>
        </p:nvSpPr>
        <p:spPr>
          <a:xfrm>
            <a:off x="6398122" y="2672220"/>
            <a:ext cx="258555" cy="374934"/>
          </a:xfrm>
          <a:custGeom>
            <a:avLst/>
            <a:gdLst>
              <a:gd name="connsiteX0" fmla="*/ 854488 w 1026319"/>
              <a:gd name="connsiteY0" fmla="*/ 1243372 h 1488280"/>
              <a:gd name="connsiteX1" fmla="*/ 854488 w 1026319"/>
              <a:gd name="connsiteY1" fmla="*/ 1343956 h 1488280"/>
              <a:gd name="connsiteX2" fmla="*/ 956882 w 1026319"/>
              <a:gd name="connsiteY2" fmla="*/ 1343956 h 1488280"/>
              <a:gd name="connsiteX3" fmla="*/ 956882 w 1026319"/>
              <a:gd name="connsiteY3" fmla="*/ 1243372 h 1488280"/>
              <a:gd name="connsiteX4" fmla="*/ 686181 w 1026319"/>
              <a:gd name="connsiteY4" fmla="*/ 1243372 h 1488280"/>
              <a:gd name="connsiteX5" fmla="*/ 686181 w 1026319"/>
              <a:gd name="connsiteY5" fmla="*/ 1343956 h 1488280"/>
              <a:gd name="connsiteX6" fmla="*/ 788575 w 1026319"/>
              <a:gd name="connsiteY6" fmla="*/ 1343956 h 1488280"/>
              <a:gd name="connsiteX7" fmla="*/ 788575 w 1026319"/>
              <a:gd name="connsiteY7" fmla="*/ 1243372 h 1488280"/>
              <a:gd name="connsiteX8" fmla="*/ 390144 w 1026319"/>
              <a:gd name="connsiteY8" fmla="*/ 1243372 h 1488280"/>
              <a:gd name="connsiteX9" fmla="*/ 390144 w 1026319"/>
              <a:gd name="connsiteY9" fmla="*/ 1343956 h 1488280"/>
              <a:gd name="connsiteX10" fmla="*/ 492538 w 1026319"/>
              <a:gd name="connsiteY10" fmla="*/ 1343956 h 1488280"/>
              <a:gd name="connsiteX11" fmla="*/ 492538 w 1026319"/>
              <a:gd name="connsiteY11" fmla="*/ 1243372 h 1488280"/>
              <a:gd name="connsiteX12" fmla="*/ 221837 w 1026319"/>
              <a:gd name="connsiteY12" fmla="*/ 1243372 h 1488280"/>
              <a:gd name="connsiteX13" fmla="*/ 221837 w 1026319"/>
              <a:gd name="connsiteY13" fmla="*/ 1343956 h 1488280"/>
              <a:gd name="connsiteX14" fmla="*/ 324231 w 1026319"/>
              <a:gd name="connsiteY14" fmla="*/ 1343956 h 1488280"/>
              <a:gd name="connsiteX15" fmla="*/ 324231 w 1026319"/>
              <a:gd name="connsiteY15" fmla="*/ 1243372 h 1488280"/>
              <a:gd name="connsiteX16" fmla="*/ 59912 w 1026319"/>
              <a:gd name="connsiteY16" fmla="*/ 1243372 h 1488280"/>
              <a:gd name="connsiteX17" fmla="*/ 59912 w 1026319"/>
              <a:gd name="connsiteY17" fmla="*/ 1343956 h 1488280"/>
              <a:gd name="connsiteX18" fmla="*/ 162306 w 1026319"/>
              <a:gd name="connsiteY18" fmla="*/ 1343956 h 1488280"/>
              <a:gd name="connsiteX19" fmla="*/ 162306 w 1026319"/>
              <a:gd name="connsiteY19" fmla="*/ 1243372 h 1488280"/>
              <a:gd name="connsiteX20" fmla="*/ 854488 w 1026319"/>
              <a:gd name="connsiteY20" fmla="*/ 1041995 h 1488280"/>
              <a:gd name="connsiteX21" fmla="*/ 854488 w 1026319"/>
              <a:gd name="connsiteY21" fmla="*/ 1142579 h 1488280"/>
              <a:gd name="connsiteX22" fmla="*/ 956882 w 1026319"/>
              <a:gd name="connsiteY22" fmla="*/ 1142579 h 1488280"/>
              <a:gd name="connsiteX23" fmla="*/ 956882 w 1026319"/>
              <a:gd name="connsiteY23" fmla="*/ 1041995 h 1488280"/>
              <a:gd name="connsiteX24" fmla="*/ 686181 w 1026319"/>
              <a:gd name="connsiteY24" fmla="*/ 1041995 h 1488280"/>
              <a:gd name="connsiteX25" fmla="*/ 686181 w 1026319"/>
              <a:gd name="connsiteY25" fmla="*/ 1142579 h 1488280"/>
              <a:gd name="connsiteX26" fmla="*/ 788575 w 1026319"/>
              <a:gd name="connsiteY26" fmla="*/ 1142579 h 1488280"/>
              <a:gd name="connsiteX27" fmla="*/ 788575 w 1026319"/>
              <a:gd name="connsiteY27" fmla="*/ 1041995 h 1488280"/>
              <a:gd name="connsiteX28" fmla="*/ 390144 w 1026319"/>
              <a:gd name="connsiteY28" fmla="*/ 1041995 h 1488280"/>
              <a:gd name="connsiteX29" fmla="*/ 390144 w 1026319"/>
              <a:gd name="connsiteY29" fmla="*/ 1142579 h 1488280"/>
              <a:gd name="connsiteX30" fmla="*/ 492538 w 1026319"/>
              <a:gd name="connsiteY30" fmla="*/ 1142579 h 1488280"/>
              <a:gd name="connsiteX31" fmla="*/ 492538 w 1026319"/>
              <a:gd name="connsiteY31" fmla="*/ 1041995 h 1488280"/>
              <a:gd name="connsiteX32" fmla="*/ 221837 w 1026319"/>
              <a:gd name="connsiteY32" fmla="*/ 1041995 h 1488280"/>
              <a:gd name="connsiteX33" fmla="*/ 221837 w 1026319"/>
              <a:gd name="connsiteY33" fmla="*/ 1142579 h 1488280"/>
              <a:gd name="connsiteX34" fmla="*/ 324231 w 1026319"/>
              <a:gd name="connsiteY34" fmla="*/ 1142579 h 1488280"/>
              <a:gd name="connsiteX35" fmla="*/ 324231 w 1026319"/>
              <a:gd name="connsiteY35" fmla="*/ 1041995 h 1488280"/>
              <a:gd name="connsiteX36" fmla="*/ 59912 w 1026319"/>
              <a:gd name="connsiteY36" fmla="*/ 1041995 h 1488280"/>
              <a:gd name="connsiteX37" fmla="*/ 59912 w 1026319"/>
              <a:gd name="connsiteY37" fmla="*/ 1142579 h 1488280"/>
              <a:gd name="connsiteX38" fmla="*/ 162306 w 1026319"/>
              <a:gd name="connsiteY38" fmla="*/ 1142579 h 1488280"/>
              <a:gd name="connsiteX39" fmla="*/ 162306 w 1026319"/>
              <a:gd name="connsiteY39" fmla="*/ 1041995 h 1488280"/>
              <a:gd name="connsiteX40" fmla="*/ 854488 w 1026319"/>
              <a:gd name="connsiteY40" fmla="*/ 840618 h 1488280"/>
              <a:gd name="connsiteX41" fmla="*/ 854488 w 1026319"/>
              <a:gd name="connsiteY41" fmla="*/ 941202 h 1488280"/>
              <a:gd name="connsiteX42" fmla="*/ 956882 w 1026319"/>
              <a:gd name="connsiteY42" fmla="*/ 941202 h 1488280"/>
              <a:gd name="connsiteX43" fmla="*/ 956882 w 1026319"/>
              <a:gd name="connsiteY43" fmla="*/ 840618 h 1488280"/>
              <a:gd name="connsiteX44" fmla="*/ 686181 w 1026319"/>
              <a:gd name="connsiteY44" fmla="*/ 840618 h 1488280"/>
              <a:gd name="connsiteX45" fmla="*/ 686181 w 1026319"/>
              <a:gd name="connsiteY45" fmla="*/ 941202 h 1488280"/>
              <a:gd name="connsiteX46" fmla="*/ 788575 w 1026319"/>
              <a:gd name="connsiteY46" fmla="*/ 941202 h 1488280"/>
              <a:gd name="connsiteX47" fmla="*/ 788575 w 1026319"/>
              <a:gd name="connsiteY47" fmla="*/ 840618 h 1488280"/>
              <a:gd name="connsiteX48" fmla="*/ 390144 w 1026319"/>
              <a:gd name="connsiteY48" fmla="*/ 840618 h 1488280"/>
              <a:gd name="connsiteX49" fmla="*/ 390144 w 1026319"/>
              <a:gd name="connsiteY49" fmla="*/ 941202 h 1488280"/>
              <a:gd name="connsiteX50" fmla="*/ 492538 w 1026319"/>
              <a:gd name="connsiteY50" fmla="*/ 941202 h 1488280"/>
              <a:gd name="connsiteX51" fmla="*/ 492538 w 1026319"/>
              <a:gd name="connsiteY51" fmla="*/ 840618 h 1488280"/>
              <a:gd name="connsiteX52" fmla="*/ 221837 w 1026319"/>
              <a:gd name="connsiteY52" fmla="*/ 840618 h 1488280"/>
              <a:gd name="connsiteX53" fmla="*/ 221837 w 1026319"/>
              <a:gd name="connsiteY53" fmla="*/ 941202 h 1488280"/>
              <a:gd name="connsiteX54" fmla="*/ 324231 w 1026319"/>
              <a:gd name="connsiteY54" fmla="*/ 941202 h 1488280"/>
              <a:gd name="connsiteX55" fmla="*/ 324231 w 1026319"/>
              <a:gd name="connsiteY55" fmla="*/ 840618 h 1488280"/>
              <a:gd name="connsiteX56" fmla="*/ 59912 w 1026319"/>
              <a:gd name="connsiteY56" fmla="*/ 840618 h 1488280"/>
              <a:gd name="connsiteX57" fmla="*/ 59912 w 1026319"/>
              <a:gd name="connsiteY57" fmla="*/ 941202 h 1488280"/>
              <a:gd name="connsiteX58" fmla="*/ 162306 w 1026319"/>
              <a:gd name="connsiteY58" fmla="*/ 941202 h 1488280"/>
              <a:gd name="connsiteX59" fmla="*/ 162306 w 1026319"/>
              <a:gd name="connsiteY59" fmla="*/ 840618 h 1488280"/>
              <a:gd name="connsiteX60" fmla="*/ 390144 w 1026319"/>
              <a:gd name="connsiteY60" fmla="*/ 639241 h 1488280"/>
              <a:gd name="connsiteX61" fmla="*/ 390144 w 1026319"/>
              <a:gd name="connsiteY61" fmla="*/ 739825 h 1488280"/>
              <a:gd name="connsiteX62" fmla="*/ 492538 w 1026319"/>
              <a:gd name="connsiteY62" fmla="*/ 739825 h 1488280"/>
              <a:gd name="connsiteX63" fmla="*/ 492538 w 1026319"/>
              <a:gd name="connsiteY63" fmla="*/ 639241 h 1488280"/>
              <a:gd name="connsiteX64" fmla="*/ 221837 w 1026319"/>
              <a:gd name="connsiteY64" fmla="*/ 639241 h 1488280"/>
              <a:gd name="connsiteX65" fmla="*/ 221837 w 1026319"/>
              <a:gd name="connsiteY65" fmla="*/ 739825 h 1488280"/>
              <a:gd name="connsiteX66" fmla="*/ 324231 w 1026319"/>
              <a:gd name="connsiteY66" fmla="*/ 739825 h 1488280"/>
              <a:gd name="connsiteX67" fmla="*/ 324231 w 1026319"/>
              <a:gd name="connsiteY67" fmla="*/ 639241 h 1488280"/>
              <a:gd name="connsiteX68" fmla="*/ 59912 w 1026319"/>
              <a:gd name="connsiteY68" fmla="*/ 639241 h 1488280"/>
              <a:gd name="connsiteX69" fmla="*/ 59912 w 1026319"/>
              <a:gd name="connsiteY69" fmla="*/ 739825 h 1488280"/>
              <a:gd name="connsiteX70" fmla="*/ 162306 w 1026319"/>
              <a:gd name="connsiteY70" fmla="*/ 739825 h 1488280"/>
              <a:gd name="connsiteX71" fmla="*/ 162306 w 1026319"/>
              <a:gd name="connsiteY71" fmla="*/ 639241 h 1488280"/>
              <a:gd name="connsiteX72" fmla="*/ 854488 w 1026319"/>
              <a:gd name="connsiteY72" fmla="*/ 616953 h 1488280"/>
              <a:gd name="connsiteX73" fmla="*/ 854488 w 1026319"/>
              <a:gd name="connsiteY73" fmla="*/ 717537 h 1488280"/>
              <a:gd name="connsiteX74" fmla="*/ 956882 w 1026319"/>
              <a:gd name="connsiteY74" fmla="*/ 717537 h 1488280"/>
              <a:gd name="connsiteX75" fmla="*/ 956882 w 1026319"/>
              <a:gd name="connsiteY75" fmla="*/ 616953 h 1488280"/>
              <a:gd name="connsiteX76" fmla="*/ 686181 w 1026319"/>
              <a:gd name="connsiteY76" fmla="*/ 616953 h 1488280"/>
              <a:gd name="connsiteX77" fmla="*/ 686181 w 1026319"/>
              <a:gd name="connsiteY77" fmla="*/ 717537 h 1488280"/>
              <a:gd name="connsiteX78" fmla="*/ 788575 w 1026319"/>
              <a:gd name="connsiteY78" fmla="*/ 717537 h 1488280"/>
              <a:gd name="connsiteX79" fmla="*/ 788575 w 1026319"/>
              <a:gd name="connsiteY79" fmla="*/ 616953 h 1488280"/>
              <a:gd name="connsiteX80" fmla="*/ 0 w 1026319"/>
              <a:gd name="connsiteY80" fmla="*/ 488156 h 1488280"/>
              <a:gd name="connsiteX81" fmla="*/ 552450 w 1026319"/>
              <a:gd name="connsiteY81" fmla="*/ 488156 h 1488280"/>
              <a:gd name="connsiteX82" fmla="*/ 552450 w 1026319"/>
              <a:gd name="connsiteY82" fmla="*/ 1488280 h 1488280"/>
              <a:gd name="connsiteX83" fmla="*/ 0 w 1026319"/>
              <a:gd name="connsiteY83" fmla="*/ 1488280 h 1488280"/>
              <a:gd name="connsiteX84" fmla="*/ 854488 w 1026319"/>
              <a:gd name="connsiteY84" fmla="*/ 414052 h 1488280"/>
              <a:gd name="connsiteX85" fmla="*/ 854488 w 1026319"/>
              <a:gd name="connsiteY85" fmla="*/ 514636 h 1488280"/>
              <a:gd name="connsiteX86" fmla="*/ 956882 w 1026319"/>
              <a:gd name="connsiteY86" fmla="*/ 514636 h 1488280"/>
              <a:gd name="connsiteX87" fmla="*/ 956882 w 1026319"/>
              <a:gd name="connsiteY87" fmla="*/ 414052 h 1488280"/>
              <a:gd name="connsiteX88" fmla="*/ 686181 w 1026319"/>
              <a:gd name="connsiteY88" fmla="*/ 414052 h 1488280"/>
              <a:gd name="connsiteX89" fmla="*/ 686181 w 1026319"/>
              <a:gd name="connsiteY89" fmla="*/ 514636 h 1488280"/>
              <a:gd name="connsiteX90" fmla="*/ 788575 w 1026319"/>
              <a:gd name="connsiteY90" fmla="*/ 514636 h 1488280"/>
              <a:gd name="connsiteX91" fmla="*/ 788575 w 1026319"/>
              <a:gd name="connsiteY91" fmla="*/ 414052 h 1488280"/>
              <a:gd name="connsiteX92" fmla="*/ 287274 w 1026319"/>
              <a:gd name="connsiteY92" fmla="*/ 388144 h 1488280"/>
              <a:gd name="connsiteX93" fmla="*/ 552450 w 1026319"/>
              <a:gd name="connsiteY93" fmla="*/ 388144 h 1488280"/>
              <a:gd name="connsiteX94" fmla="*/ 552450 w 1026319"/>
              <a:gd name="connsiteY94" fmla="*/ 464344 h 1488280"/>
              <a:gd name="connsiteX95" fmla="*/ 287274 w 1026319"/>
              <a:gd name="connsiteY95" fmla="*/ 464344 h 1488280"/>
              <a:gd name="connsiteX96" fmla="*/ 0 w 1026319"/>
              <a:gd name="connsiteY96" fmla="*/ 388144 h 1488280"/>
              <a:gd name="connsiteX97" fmla="*/ 265176 w 1026319"/>
              <a:gd name="connsiteY97" fmla="*/ 388144 h 1488280"/>
              <a:gd name="connsiteX98" fmla="*/ 265176 w 1026319"/>
              <a:gd name="connsiteY98" fmla="*/ 464344 h 1488280"/>
              <a:gd name="connsiteX99" fmla="*/ 0 w 1026319"/>
              <a:gd name="connsiteY99" fmla="*/ 464344 h 1488280"/>
              <a:gd name="connsiteX100" fmla="*/ 854488 w 1026319"/>
              <a:gd name="connsiteY100" fmla="*/ 218750 h 1488280"/>
              <a:gd name="connsiteX101" fmla="*/ 854488 w 1026319"/>
              <a:gd name="connsiteY101" fmla="*/ 319334 h 1488280"/>
              <a:gd name="connsiteX102" fmla="*/ 956882 w 1026319"/>
              <a:gd name="connsiteY102" fmla="*/ 319334 h 1488280"/>
              <a:gd name="connsiteX103" fmla="*/ 956882 w 1026319"/>
              <a:gd name="connsiteY103" fmla="*/ 218750 h 1488280"/>
              <a:gd name="connsiteX104" fmla="*/ 686181 w 1026319"/>
              <a:gd name="connsiteY104" fmla="*/ 218750 h 1488280"/>
              <a:gd name="connsiteX105" fmla="*/ 686181 w 1026319"/>
              <a:gd name="connsiteY105" fmla="*/ 319334 h 1488280"/>
              <a:gd name="connsiteX106" fmla="*/ 788575 w 1026319"/>
              <a:gd name="connsiteY106" fmla="*/ 319334 h 1488280"/>
              <a:gd name="connsiteX107" fmla="*/ 788575 w 1026319"/>
              <a:gd name="connsiteY107" fmla="*/ 218750 h 1488280"/>
              <a:gd name="connsiteX108" fmla="*/ 616744 w 1026319"/>
              <a:gd name="connsiteY108" fmla="*/ 100011 h 1488280"/>
              <a:gd name="connsiteX109" fmla="*/ 1026319 w 1026319"/>
              <a:gd name="connsiteY109" fmla="*/ 100011 h 1488280"/>
              <a:gd name="connsiteX110" fmla="*/ 1026319 w 1026319"/>
              <a:gd name="connsiteY110" fmla="*/ 1488280 h 1488280"/>
              <a:gd name="connsiteX111" fmla="*/ 616744 w 1026319"/>
              <a:gd name="connsiteY111" fmla="*/ 1488280 h 1488280"/>
              <a:gd name="connsiteX112" fmla="*/ 616744 w 1026319"/>
              <a:gd name="connsiteY112" fmla="*/ 0 h 1488280"/>
              <a:gd name="connsiteX113" fmla="*/ 1026319 w 1026319"/>
              <a:gd name="connsiteY113" fmla="*/ 0 h 1488280"/>
              <a:gd name="connsiteX114" fmla="*/ 1026319 w 1026319"/>
              <a:gd name="connsiteY114" fmla="*/ 76200 h 1488280"/>
              <a:gd name="connsiteX115" fmla="*/ 616744 w 1026319"/>
              <a:gd name="connsiteY115" fmla="*/ 76200 h 148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026319" h="1488280">
                <a:moveTo>
                  <a:pt x="854488" y="1243372"/>
                </a:moveTo>
                <a:lnTo>
                  <a:pt x="854488" y="1343956"/>
                </a:lnTo>
                <a:lnTo>
                  <a:pt x="956882" y="1343956"/>
                </a:lnTo>
                <a:lnTo>
                  <a:pt x="956882" y="1243372"/>
                </a:lnTo>
                <a:close/>
                <a:moveTo>
                  <a:pt x="686181" y="1243372"/>
                </a:moveTo>
                <a:lnTo>
                  <a:pt x="686181" y="1343956"/>
                </a:lnTo>
                <a:lnTo>
                  <a:pt x="788575" y="1343956"/>
                </a:lnTo>
                <a:lnTo>
                  <a:pt x="788575" y="1243372"/>
                </a:lnTo>
                <a:close/>
                <a:moveTo>
                  <a:pt x="390144" y="1243372"/>
                </a:moveTo>
                <a:lnTo>
                  <a:pt x="390144" y="1343956"/>
                </a:lnTo>
                <a:lnTo>
                  <a:pt x="492538" y="1343956"/>
                </a:lnTo>
                <a:lnTo>
                  <a:pt x="492538" y="1243372"/>
                </a:lnTo>
                <a:close/>
                <a:moveTo>
                  <a:pt x="221837" y="1243372"/>
                </a:moveTo>
                <a:lnTo>
                  <a:pt x="221837" y="1343956"/>
                </a:lnTo>
                <a:lnTo>
                  <a:pt x="324231" y="1343956"/>
                </a:lnTo>
                <a:lnTo>
                  <a:pt x="324231" y="1243372"/>
                </a:lnTo>
                <a:close/>
                <a:moveTo>
                  <a:pt x="59912" y="1243372"/>
                </a:moveTo>
                <a:lnTo>
                  <a:pt x="59912" y="1343956"/>
                </a:lnTo>
                <a:lnTo>
                  <a:pt x="162306" y="1343956"/>
                </a:lnTo>
                <a:lnTo>
                  <a:pt x="162306" y="1243372"/>
                </a:lnTo>
                <a:close/>
                <a:moveTo>
                  <a:pt x="854488" y="1041995"/>
                </a:moveTo>
                <a:lnTo>
                  <a:pt x="854488" y="1142579"/>
                </a:lnTo>
                <a:lnTo>
                  <a:pt x="956882" y="1142579"/>
                </a:lnTo>
                <a:lnTo>
                  <a:pt x="956882" y="1041995"/>
                </a:lnTo>
                <a:close/>
                <a:moveTo>
                  <a:pt x="686181" y="1041995"/>
                </a:moveTo>
                <a:lnTo>
                  <a:pt x="686181" y="1142579"/>
                </a:lnTo>
                <a:lnTo>
                  <a:pt x="788575" y="1142579"/>
                </a:lnTo>
                <a:lnTo>
                  <a:pt x="788575" y="1041995"/>
                </a:lnTo>
                <a:close/>
                <a:moveTo>
                  <a:pt x="390144" y="1041995"/>
                </a:moveTo>
                <a:lnTo>
                  <a:pt x="390144" y="1142579"/>
                </a:lnTo>
                <a:lnTo>
                  <a:pt x="492538" y="1142579"/>
                </a:lnTo>
                <a:lnTo>
                  <a:pt x="492538" y="1041995"/>
                </a:lnTo>
                <a:close/>
                <a:moveTo>
                  <a:pt x="221837" y="1041995"/>
                </a:moveTo>
                <a:lnTo>
                  <a:pt x="221837" y="1142579"/>
                </a:lnTo>
                <a:lnTo>
                  <a:pt x="324231" y="1142579"/>
                </a:lnTo>
                <a:lnTo>
                  <a:pt x="324231" y="1041995"/>
                </a:lnTo>
                <a:close/>
                <a:moveTo>
                  <a:pt x="59912" y="1041995"/>
                </a:moveTo>
                <a:lnTo>
                  <a:pt x="59912" y="1142579"/>
                </a:lnTo>
                <a:lnTo>
                  <a:pt x="162306" y="1142579"/>
                </a:lnTo>
                <a:lnTo>
                  <a:pt x="162306" y="1041995"/>
                </a:lnTo>
                <a:close/>
                <a:moveTo>
                  <a:pt x="854488" y="840618"/>
                </a:moveTo>
                <a:lnTo>
                  <a:pt x="854488" y="941202"/>
                </a:lnTo>
                <a:lnTo>
                  <a:pt x="956882" y="941202"/>
                </a:lnTo>
                <a:lnTo>
                  <a:pt x="956882" y="840618"/>
                </a:lnTo>
                <a:close/>
                <a:moveTo>
                  <a:pt x="686181" y="840618"/>
                </a:moveTo>
                <a:lnTo>
                  <a:pt x="686181" y="941202"/>
                </a:lnTo>
                <a:lnTo>
                  <a:pt x="788575" y="941202"/>
                </a:lnTo>
                <a:lnTo>
                  <a:pt x="788575" y="840618"/>
                </a:lnTo>
                <a:close/>
                <a:moveTo>
                  <a:pt x="390144" y="840618"/>
                </a:moveTo>
                <a:lnTo>
                  <a:pt x="390144" y="941202"/>
                </a:lnTo>
                <a:lnTo>
                  <a:pt x="492538" y="941202"/>
                </a:lnTo>
                <a:lnTo>
                  <a:pt x="492538" y="840618"/>
                </a:lnTo>
                <a:close/>
                <a:moveTo>
                  <a:pt x="221837" y="840618"/>
                </a:moveTo>
                <a:lnTo>
                  <a:pt x="221837" y="941202"/>
                </a:lnTo>
                <a:lnTo>
                  <a:pt x="324231" y="941202"/>
                </a:lnTo>
                <a:lnTo>
                  <a:pt x="324231" y="840618"/>
                </a:lnTo>
                <a:close/>
                <a:moveTo>
                  <a:pt x="59912" y="840618"/>
                </a:moveTo>
                <a:lnTo>
                  <a:pt x="59912" y="941202"/>
                </a:lnTo>
                <a:lnTo>
                  <a:pt x="162306" y="941202"/>
                </a:lnTo>
                <a:lnTo>
                  <a:pt x="162306" y="840618"/>
                </a:lnTo>
                <a:close/>
                <a:moveTo>
                  <a:pt x="390144" y="639241"/>
                </a:moveTo>
                <a:lnTo>
                  <a:pt x="390144" y="739825"/>
                </a:lnTo>
                <a:lnTo>
                  <a:pt x="492538" y="739825"/>
                </a:lnTo>
                <a:lnTo>
                  <a:pt x="492538" y="639241"/>
                </a:lnTo>
                <a:close/>
                <a:moveTo>
                  <a:pt x="221837" y="639241"/>
                </a:moveTo>
                <a:lnTo>
                  <a:pt x="221837" y="739825"/>
                </a:lnTo>
                <a:lnTo>
                  <a:pt x="324231" y="739825"/>
                </a:lnTo>
                <a:lnTo>
                  <a:pt x="324231" y="639241"/>
                </a:lnTo>
                <a:close/>
                <a:moveTo>
                  <a:pt x="59912" y="639241"/>
                </a:moveTo>
                <a:lnTo>
                  <a:pt x="59912" y="739825"/>
                </a:lnTo>
                <a:lnTo>
                  <a:pt x="162306" y="739825"/>
                </a:lnTo>
                <a:lnTo>
                  <a:pt x="162306" y="639241"/>
                </a:lnTo>
                <a:close/>
                <a:moveTo>
                  <a:pt x="854488" y="616953"/>
                </a:moveTo>
                <a:lnTo>
                  <a:pt x="854488" y="717537"/>
                </a:lnTo>
                <a:lnTo>
                  <a:pt x="956882" y="717537"/>
                </a:lnTo>
                <a:lnTo>
                  <a:pt x="956882" y="616953"/>
                </a:lnTo>
                <a:close/>
                <a:moveTo>
                  <a:pt x="686181" y="616953"/>
                </a:moveTo>
                <a:lnTo>
                  <a:pt x="686181" y="717537"/>
                </a:lnTo>
                <a:lnTo>
                  <a:pt x="788575" y="717537"/>
                </a:lnTo>
                <a:lnTo>
                  <a:pt x="788575" y="616953"/>
                </a:lnTo>
                <a:close/>
                <a:moveTo>
                  <a:pt x="0" y="488156"/>
                </a:moveTo>
                <a:lnTo>
                  <a:pt x="552450" y="488156"/>
                </a:lnTo>
                <a:lnTo>
                  <a:pt x="552450" y="1488280"/>
                </a:lnTo>
                <a:lnTo>
                  <a:pt x="0" y="1488280"/>
                </a:lnTo>
                <a:close/>
                <a:moveTo>
                  <a:pt x="854488" y="414052"/>
                </a:moveTo>
                <a:lnTo>
                  <a:pt x="854488" y="514636"/>
                </a:lnTo>
                <a:lnTo>
                  <a:pt x="956882" y="514636"/>
                </a:lnTo>
                <a:lnTo>
                  <a:pt x="956882" y="414052"/>
                </a:lnTo>
                <a:close/>
                <a:moveTo>
                  <a:pt x="686181" y="414052"/>
                </a:moveTo>
                <a:lnTo>
                  <a:pt x="686181" y="514636"/>
                </a:lnTo>
                <a:lnTo>
                  <a:pt x="788575" y="514636"/>
                </a:lnTo>
                <a:lnTo>
                  <a:pt x="788575" y="414052"/>
                </a:lnTo>
                <a:close/>
                <a:moveTo>
                  <a:pt x="287274" y="388144"/>
                </a:moveTo>
                <a:lnTo>
                  <a:pt x="552450" y="388144"/>
                </a:lnTo>
                <a:lnTo>
                  <a:pt x="552450" y="464344"/>
                </a:lnTo>
                <a:lnTo>
                  <a:pt x="287274" y="464344"/>
                </a:lnTo>
                <a:close/>
                <a:moveTo>
                  <a:pt x="0" y="388144"/>
                </a:moveTo>
                <a:lnTo>
                  <a:pt x="265176" y="388144"/>
                </a:lnTo>
                <a:lnTo>
                  <a:pt x="265176" y="464344"/>
                </a:lnTo>
                <a:lnTo>
                  <a:pt x="0" y="464344"/>
                </a:lnTo>
                <a:close/>
                <a:moveTo>
                  <a:pt x="854488" y="218750"/>
                </a:moveTo>
                <a:lnTo>
                  <a:pt x="854488" y="319334"/>
                </a:lnTo>
                <a:lnTo>
                  <a:pt x="956882" y="319334"/>
                </a:lnTo>
                <a:lnTo>
                  <a:pt x="956882" y="218750"/>
                </a:lnTo>
                <a:close/>
                <a:moveTo>
                  <a:pt x="686181" y="218750"/>
                </a:moveTo>
                <a:lnTo>
                  <a:pt x="686181" y="319334"/>
                </a:lnTo>
                <a:lnTo>
                  <a:pt x="788575" y="319334"/>
                </a:lnTo>
                <a:lnTo>
                  <a:pt x="788575" y="218750"/>
                </a:lnTo>
                <a:close/>
                <a:moveTo>
                  <a:pt x="616744" y="100011"/>
                </a:moveTo>
                <a:lnTo>
                  <a:pt x="1026319" y="100011"/>
                </a:lnTo>
                <a:lnTo>
                  <a:pt x="1026319" y="1488280"/>
                </a:lnTo>
                <a:lnTo>
                  <a:pt x="616744" y="1488280"/>
                </a:lnTo>
                <a:close/>
                <a:moveTo>
                  <a:pt x="616744" y="0"/>
                </a:moveTo>
                <a:lnTo>
                  <a:pt x="1026319" y="0"/>
                </a:lnTo>
                <a:lnTo>
                  <a:pt x="1026319" y="76200"/>
                </a:lnTo>
                <a:lnTo>
                  <a:pt x="616744" y="7620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6379366" y="3822632"/>
            <a:ext cx="283437" cy="304877"/>
          </a:xfrm>
          <a:custGeom>
            <a:avLst/>
            <a:gdLst>
              <a:gd name="connsiteX0" fmla="*/ 0 w 4660485"/>
              <a:gd name="connsiteY0" fmla="*/ 3266770 h 5013020"/>
              <a:gd name="connsiteX1" fmla="*/ 476250 w 4660485"/>
              <a:gd name="connsiteY1" fmla="*/ 3266770 h 5013020"/>
              <a:gd name="connsiteX2" fmla="*/ 2256338 w 4660485"/>
              <a:gd name="connsiteY2" fmla="*/ 4426045 h 5013020"/>
              <a:gd name="connsiteX3" fmla="*/ 2256338 w 4660485"/>
              <a:gd name="connsiteY3" fmla="*/ 3653517 h 5013020"/>
              <a:gd name="connsiteX4" fmla="*/ 2567255 w 4660485"/>
              <a:gd name="connsiteY4" fmla="*/ 3653517 h 5013020"/>
              <a:gd name="connsiteX5" fmla="*/ 2576512 w 4660485"/>
              <a:gd name="connsiteY5" fmla="*/ 3653517 h 5013020"/>
              <a:gd name="connsiteX6" fmla="*/ 4558712 w 4660485"/>
              <a:gd name="connsiteY6" fmla="*/ 3653517 h 5013020"/>
              <a:gd name="connsiteX7" fmla="*/ 4648578 w 4660485"/>
              <a:gd name="connsiteY7" fmla="*/ 3743383 h 5013020"/>
              <a:gd name="connsiteX8" fmla="*/ 4648578 w 4660485"/>
              <a:gd name="connsiteY8" fmla="*/ 3845662 h 5013020"/>
              <a:gd name="connsiteX9" fmla="*/ 4558712 w 4660485"/>
              <a:gd name="connsiteY9" fmla="*/ 3935528 h 5013020"/>
              <a:gd name="connsiteX10" fmla="*/ 2576512 w 4660485"/>
              <a:gd name="connsiteY10" fmla="*/ 3935528 h 5013020"/>
              <a:gd name="connsiteX11" fmla="*/ 2576512 w 4660485"/>
              <a:gd name="connsiteY11" fmla="*/ 4567917 h 5013020"/>
              <a:gd name="connsiteX12" fmla="*/ 2571750 w 4660485"/>
              <a:gd name="connsiteY12" fmla="*/ 5013020 h 5013020"/>
              <a:gd name="connsiteX13" fmla="*/ 0 w 4660485"/>
              <a:gd name="connsiteY13" fmla="*/ 3266770 h 5013020"/>
              <a:gd name="connsiteX14" fmla="*/ 2267661 w 4660485"/>
              <a:gd name="connsiteY14" fmla="*/ 0 h 5013020"/>
              <a:gd name="connsiteX15" fmla="*/ 4660485 w 4660485"/>
              <a:gd name="connsiteY15" fmla="*/ 1662414 h 5013020"/>
              <a:gd name="connsiteX16" fmla="*/ 2267661 w 4660485"/>
              <a:gd name="connsiteY16" fmla="*/ 3324828 h 5013020"/>
              <a:gd name="connsiteX17" fmla="*/ 2256339 w 4660485"/>
              <a:gd name="connsiteY17" fmla="*/ 1765080 h 5013020"/>
              <a:gd name="connsiteX18" fmla="*/ 1483061 w 4660485"/>
              <a:gd name="connsiteY18" fmla="*/ 2281984 h 5013020"/>
              <a:gd name="connsiteX19" fmla="*/ 29964 w 4660485"/>
              <a:gd name="connsiteY19" fmla="*/ 2281984 h 5013020"/>
              <a:gd name="connsiteX20" fmla="*/ 29964 w 4660485"/>
              <a:gd name="connsiteY20" fmla="*/ 1042845 h 5013020"/>
              <a:gd name="connsiteX21" fmla="*/ 2267661 w 4660485"/>
              <a:gd name="connsiteY21" fmla="*/ 1042845 h 5013020"/>
              <a:gd name="connsiteX22" fmla="*/ 2267661 w 4660485"/>
              <a:gd name="connsiteY22" fmla="*/ 0 h 5013020"/>
              <a:gd name="connsiteX0" fmla="*/ 0 w 4660485"/>
              <a:gd name="connsiteY0" fmla="*/ 3266770 h 5013020"/>
              <a:gd name="connsiteX1" fmla="*/ 476250 w 4660485"/>
              <a:gd name="connsiteY1" fmla="*/ 3266770 h 5013020"/>
              <a:gd name="connsiteX2" fmla="*/ 2256338 w 4660485"/>
              <a:gd name="connsiteY2" fmla="*/ 4426045 h 5013020"/>
              <a:gd name="connsiteX3" fmla="*/ 2256338 w 4660485"/>
              <a:gd name="connsiteY3" fmla="*/ 3653517 h 5013020"/>
              <a:gd name="connsiteX4" fmla="*/ 2567255 w 4660485"/>
              <a:gd name="connsiteY4" fmla="*/ 3653517 h 5013020"/>
              <a:gd name="connsiteX5" fmla="*/ 2576512 w 4660485"/>
              <a:gd name="connsiteY5" fmla="*/ 3653517 h 5013020"/>
              <a:gd name="connsiteX6" fmla="*/ 4558712 w 4660485"/>
              <a:gd name="connsiteY6" fmla="*/ 3653517 h 5013020"/>
              <a:gd name="connsiteX7" fmla="*/ 4648578 w 4660485"/>
              <a:gd name="connsiteY7" fmla="*/ 3743383 h 5013020"/>
              <a:gd name="connsiteX8" fmla="*/ 4648578 w 4660485"/>
              <a:gd name="connsiteY8" fmla="*/ 3845662 h 5013020"/>
              <a:gd name="connsiteX9" fmla="*/ 4558712 w 4660485"/>
              <a:gd name="connsiteY9" fmla="*/ 3935528 h 5013020"/>
              <a:gd name="connsiteX10" fmla="*/ 2576512 w 4660485"/>
              <a:gd name="connsiteY10" fmla="*/ 3935528 h 5013020"/>
              <a:gd name="connsiteX11" fmla="*/ 2571750 w 4660485"/>
              <a:gd name="connsiteY11" fmla="*/ 5013020 h 5013020"/>
              <a:gd name="connsiteX12" fmla="*/ 0 w 4660485"/>
              <a:gd name="connsiteY12" fmla="*/ 3266770 h 5013020"/>
              <a:gd name="connsiteX13" fmla="*/ 2267661 w 4660485"/>
              <a:gd name="connsiteY13" fmla="*/ 0 h 5013020"/>
              <a:gd name="connsiteX14" fmla="*/ 4660485 w 4660485"/>
              <a:gd name="connsiteY14" fmla="*/ 1662414 h 5013020"/>
              <a:gd name="connsiteX15" fmla="*/ 2267661 w 4660485"/>
              <a:gd name="connsiteY15" fmla="*/ 3324828 h 5013020"/>
              <a:gd name="connsiteX16" fmla="*/ 2256339 w 4660485"/>
              <a:gd name="connsiteY16" fmla="*/ 1765080 h 5013020"/>
              <a:gd name="connsiteX17" fmla="*/ 1483061 w 4660485"/>
              <a:gd name="connsiteY17" fmla="*/ 2281984 h 5013020"/>
              <a:gd name="connsiteX18" fmla="*/ 29964 w 4660485"/>
              <a:gd name="connsiteY18" fmla="*/ 2281984 h 5013020"/>
              <a:gd name="connsiteX19" fmla="*/ 29964 w 4660485"/>
              <a:gd name="connsiteY19" fmla="*/ 1042845 h 5013020"/>
              <a:gd name="connsiteX20" fmla="*/ 2267661 w 4660485"/>
              <a:gd name="connsiteY20" fmla="*/ 1042845 h 5013020"/>
              <a:gd name="connsiteX21" fmla="*/ 2267661 w 4660485"/>
              <a:gd name="connsiteY21" fmla="*/ 0 h 5013020"/>
              <a:gd name="connsiteX0" fmla="*/ 0 w 4660485"/>
              <a:gd name="connsiteY0" fmla="*/ 3266770 h 5013020"/>
              <a:gd name="connsiteX1" fmla="*/ 476250 w 4660485"/>
              <a:gd name="connsiteY1" fmla="*/ 3266770 h 5013020"/>
              <a:gd name="connsiteX2" fmla="*/ 2256338 w 4660485"/>
              <a:gd name="connsiteY2" fmla="*/ 4426045 h 5013020"/>
              <a:gd name="connsiteX3" fmla="*/ 2256338 w 4660485"/>
              <a:gd name="connsiteY3" fmla="*/ 3653517 h 5013020"/>
              <a:gd name="connsiteX4" fmla="*/ 2567255 w 4660485"/>
              <a:gd name="connsiteY4" fmla="*/ 3653517 h 5013020"/>
              <a:gd name="connsiteX5" fmla="*/ 4558712 w 4660485"/>
              <a:gd name="connsiteY5" fmla="*/ 3653517 h 5013020"/>
              <a:gd name="connsiteX6" fmla="*/ 4648578 w 4660485"/>
              <a:gd name="connsiteY6" fmla="*/ 3743383 h 5013020"/>
              <a:gd name="connsiteX7" fmla="*/ 4648578 w 4660485"/>
              <a:gd name="connsiteY7" fmla="*/ 3845662 h 5013020"/>
              <a:gd name="connsiteX8" fmla="*/ 4558712 w 4660485"/>
              <a:gd name="connsiteY8" fmla="*/ 3935528 h 5013020"/>
              <a:gd name="connsiteX9" fmla="*/ 2576512 w 4660485"/>
              <a:gd name="connsiteY9" fmla="*/ 3935528 h 5013020"/>
              <a:gd name="connsiteX10" fmla="*/ 2571750 w 4660485"/>
              <a:gd name="connsiteY10" fmla="*/ 5013020 h 5013020"/>
              <a:gd name="connsiteX11" fmla="*/ 0 w 4660485"/>
              <a:gd name="connsiteY11" fmla="*/ 3266770 h 5013020"/>
              <a:gd name="connsiteX12" fmla="*/ 2267661 w 4660485"/>
              <a:gd name="connsiteY12" fmla="*/ 0 h 5013020"/>
              <a:gd name="connsiteX13" fmla="*/ 4660485 w 4660485"/>
              <a:gd name="connsiteY13" fmla="*/ 1662414 h 5013020"/>
              <a:gd name="connsiteX14" fmla="*/ 2267661 w 4660485"/>
              <a:gd name="connsiteY14" fmla="*/ 3324828 h 5013020"/>
              <a:gd name="connsiteX15" fmla="*/ 2256339 w 4660485"/>
              <a:gd name="connsiteY15" fmla="*/ 1765080 h 5013020"/>
              <a:gd name="connsiteX16" fmla="*/ 1483061 w 4660485"/>
              <a:gd name="connsiteY16" fmla="*/ 2281984 h 5013020"/>
              <a:gd name="connsiteX17" fmla="*/ 29964 w 4660485"/>
              <a:gd name="connsiteY17" fmla="*/ 2281984 h 5013020"/>
              <a:gd name="connsiteX18" fmla="*/ 29964 w 4660485"/>
              <a:gd name="connsiteY18" fmla="*/ 1042845 h 5013020"/>
              <a:gd name="connsiteX19" fmla="*/ 2267661 w 4660485"/>
              <a:gd name="connsiteY19" fmla="*/ 1042845 h 5013020"/>
              <a:gd name="connsiteX20" fmla="*/ 2267661 w 4660485"/>
              <a:gd name="connsiteY20" fmla="*/ 0 h 5013020"/>
              <a:gd name="connsiteX0" fmla="*/ 0 w 4660485"/>
              <a:gd name="connsiteY0" fmla="*/ 3266770 h 5013020"/>
              <a:gd name="connsiteX1" fmla="*/ 476250 w 4660485"/>
              <a:gd name="connsiteY1" fmla="*/ 3266770 h 5013020"/>
              <a:gd name="connsiteX2" fmla="*/ 2256338 w 4660485"/>
              <a:gd name="connsiteY2" fmla="*/ 4426045 h 5013020"/>
              <a:gd name="connsiteX3" fmla="*/ 2256338 w 4660485"/>
              <a:gd name="connsiteY3" fmla="*/ 3653517 h 5013020"/>
              <a:gd name="connsiteX4" fmla="*/ 4558712 w 4660485"/>
              <a:gd name="connsiteY4" fmla="*/ 3653517 h 5013020"/>
              <a:gd name="connsiteX5" fmla="*/ 4648578 w 4660485"/>
              <a:gd name="connsiteY5" fmla="*/ 3743383 h 5013020"/>
              <a:gd name="connsiteX6" fmla="*/ 4648578 w 4660485"/>
              <a:gd name="connsiteY6" fmla="*/ 3845662 h 5013020"/>
              <a:gd name="connsiteX7" fmla="*/ 4558712 w 4660485"/>
              <a:gd name="connsiteY7" fmla="*/ 3935528 h 5013020"/>
              <a:gd name="connsiteX8" fmla="*/ 2576512 w 4660485"/>
              <a:gd name="connsiteY8" fmla="*/ 3935528 h 5013020"/>
              <a:gd name="connsiteX9" fmla="*/ 2571750 w 4660485"/>
              <a:gd name="connsiteY9" fmla="*/ 5013020 h 5013020"/>
              <a:gd name="connsiteX10" fmla="*/ 0 w 4660485"/>
              <a:gd name="connsiteY10" fmla="*/ 3266770 h 5013020"/>
              <a:gd name="connsiteX11" fmla="*/ 2267661 w 4660485"/>
              <a:gd name="connsiteY11" fmla="*/ 0 h 5013020"/>
              <a:gd name="connsiteX12" fmla="*/ 4660485 w 4660485"/>
              <a:gd name="connsiteY12" fmla="*/ 1662414 h 5013020"/>
              <a:gd name="connsiteX13" fmla="*/ 2267661 w 4660485"/>
              <a:gd name="connsiteY13" fmla="*/ 3324828 h 5013020"/>
              <a:gd name="connsiteX14" fmla="*/ 2256339 w 4660485"/>
              <a:gd name="connsiteY14" fmla="*/ 1765080 h 5013020"/>
              <a:gd name="connsiteX15" fmla="*/ 1483061 w 4660485"/>
              <a:gd name="connsiteY15" fmla="*/ 2281984 h 5013020"/>
              <a:gd name="connsiteX16" fmla="*/ 29964 w 4660485"/>
              <a:gd name="connsiteY16" fmla="*/ 2281984 h 5013020"/>
              <a:gd name="connsiteX17" fmla="*/ 29964 w 4660485"/>
              <a:gd name="connsiteY17" fmla="*/ 1042845 h 5013020"/>
              <a:gd name="connsiteX18" fmla="*/ 2267661 w 4660485"/>
              <a:gd name="connsiteY18" fmla="*/ 1042845 h 5013020"/>
              <a:gd name="connsiteX19" fmla="*/ 2267661 w 4660485"/>
              <a:gd name="connsiteY19" fmla="*/ 0 h 5013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60485" h="5013020">
                <a:moveTo>
                  <a:pt x="0" y="3266770"/>
                </a:moveTo>
                <a:lnTo>
                  <a:pt x="476250" y="3266770"/>
                </a:lnTo>
                <a:lnTo>
                  <a:pt x="2256338" y="4426045"/>
                </a:lnTo>
                <a:lnTo>
                  <a:pt x="2256338" y="3653517"/>
                </a:lnTo>
                <a:lnTo>
                  <a:pt x="4558712" y="3653517"/>
                </a:lnTo>
                <a:cubicBezTo>
                  <a:pt x="4608344" y="3653517"/>
                  <a:pt x="4648578" y="3693751"/>
                  <a:pt x="4648578" y="3743383"/>
                </a:cubicBezTo>
                <a:lnTo>
                  <a:pt x="4648578" y="3845662"/>
                </a:lnTo>
                <a:cubicBezTo>
                  <a:pt x="4648578" y="3895294"/>
                  <a:pt x="4608344" y="3935528"/>
                  <a:pt x="4558712" y="3935528"/>
                </a:cubicBezTo>
                <a:lnTo>
                  <a:pt x="2576512" y="3935528"/>
                </a:lnTo>
                <a:cubicBezTo>
                  <a:pt x="2574925" y="4294692"/>
                  <a:pt x="2573337" y="4653856"/>
                  <a:pt x="2571750" y="5013020"/>
                </a:cubicBezTo>
                <a:lnTo>
                  <a:pt x="0" y="3266770"/>
                </a:lnTo>
                <a:close/>
                <a:moveTo>
                  <a:pt x="2267661" y="0"/>
                </a:moveTo>
                <a:lnTo>
                  <a:pt x="4660485" y="1662414"/>
                </a:lnTo>
                <a:lnTo>
                  <a:pt x="2267661" y="3324828"/>
                </a:lnTo>
                <a:lnTo>
                  <a:pt x="2256339" y="1765080"/>
                </a:lnTo>
                <a:lnTo>
                  <a:pt x="1483061" y="2281984"/>
                </a:lnTo>
                <a:lnTo>
                  <a:pt x="29964" y="2281984"/>
                </a:lnTo>
                <a:lnTo>
                  <a:pt x="29964" y="1042845"/>
                </a:lnTo>
                <a:lnTo>
                  <a:pt x="2267661" y="1042845"/>
                </a:lnTo>
                <a:lnTo>
                  <a:pt x="2267661" y="0"/>
                </a:lnTo>
                <a:close/>
              </a:path>
            </a:pathLst>
          </a:cu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100" dirty="0"/>
          </a:p>
        </p:txBody>
      </p:sp>
      <p:grpSp>
        <p:nvGrpSpPr>
          <p:cNvPr id="38" name="Group 37"/>
          <p:cNvGrpSpPr/>
          <p:nvPr/>
        </p:nvGrpSpPr>
        <p:grpSpPr bwMode="black">
          <a:xfrm>
            <a:off x="6263551" y="4950719"/>
            <a:ext cx="385685" cy="234867"/>
            <a:chOff x="10387012" y="4179358"/>
            <a:chExt cx="974726" cy="593725"/>
          </a:xfrm>
          <a:solidFill>
            <a:srgbClr val="FFFFFF"/>
          </a:solidFill>
        </p:grpSpPr>
        <p:sp>
          <p:nvSpPr>
            <p:cNvPr id="39" name="Freeform 38"/>
            <p:cNvSpPr>
              <a:spLocks/>
            </p:cNvSpPr>
            <p:nvPr/>
          </p:nvSpPr>
          <p:spPr bwMode="black">
            <a:xfrm>
              <a:off x="10506075" y="4258733"/>
              <a:ext cx="706438" cy="514350"/>
            </a:xfrm>
            <a:custGeom>
              <a:avLst/>
              <a:gdLst>
                <a:gd name="T0" fmla="*/ 183 w 188"/>
                <a:gd name="T1" fmla="*/ 84 h 137"/>
                <a:gd name="T2" fmla="*/ 104 w 188"/>
                <a:gd name="T3" fmla="*/ 27 h 137"/>
                <a:gd name="T4" fmla="*/ 86 w 188"/>
                <a:gd name="T5" fmla="*/ 19 h 137"/>
                <a:gd name="T6" fmla="*/ 59 w 188"/>
                <a:gd name="T7" fmla="*/ 34 h 137"/>
                <a:gd name="T8" fmla="*/ 56 w 188"/>
                <a:gd name="T9" fmla="*/ 36 h 137"/>
                <a:gd name="T10" fmla="*/ 43 w 188"/>
                <a:gd name="T11" fmla="*/ 38 h 137"/>
                <a:gd name="T12" fmla="*/ 43 w 188"/>
                <a:gd name="T13" fmla="*/ 38 h 137"/>
                <a:gd name="T14" fmla="*/ 26 w 188"/>
                <a:gd name="T15" fmla="*/ 27 h 137"/>
                <a:gd name="T16" fmla="*/ 24 w 188"/>
                <a:gd name="T17" fmla="*/ 14 h 137"/>
                <a:gd name="T18" fmla="*/ 31 w 188"/>
                <a:gd name="T19" fmla="*/ 0 h 137"/>
                <a:gd name="T20" fmla="*/ 21 w 188"/>
                <a:gd name="T21" fmla="*/ 0 h 137"/>
                <a:gd name="T22" fmla="*/ 1 w 188"/>
                <a:gd name="T23" fmla="*/ 79 h 137"/>
                <a:gd name="T24" fmla="*/ 4 w 188"/>
                <a:gd name="T25" fmla="*/ 80 h 137"/>
                <a:gd name="T26" fmla="*/ 16 w 188"/>
                <a:gd name="T27" fmla="*/ 70 h 137"/>
                <a:gd name="T28" fmla="*/ 22 w 188"/>
                <a:gd name="T29" fmla="*/ 70 h 137"/>
                <a:gd name="T30" fmla="*/ 32 w 188"/>
                <a:gd name="T31" fmla="*/ 74 h 137"/>
                <a:gd name="T32" fmla="*/ 43 w 188"/>
                <a:gd name="T33" fmla="*/ 72 h 137"/>
                <a:gd name="T34" fmla="*/ 44 w 188"/>
                <a:gd name="T35" fmla="*/ 72 h 137"/>
                <a:gd name="T36" fmla="*/ 53 w 188"/>
                <a:gd name="T37" fmla="*/ 76 h 137"/>
                <a:gd name="T38" fmla="*/ 65 w 188"/>
                <a:gd name="T39" fmla="*/ 74 h 137"/>
                <a:gd name="T40" fmla="*/ 67 w 188"/>
                <a:gd name="T41" fmla="*/ 74 h 137"/>
                <a:gd name="T42" fmla="*/ 80 w 188"/>
                <a:gd name="T43" fmla="*/ 88 h 137"/>
                <a:gd name="T44" fmla="*/ 83 w 188"/>
                <a:gd name="T45" fmla="*/ 88 h 137"/>
                <a:gd name="T46" fmla="*/ 85 w 188"/>
                <a:gd name="T47" fmla="*/ 89 h 137"/>
                <a:gd name="T48" fmla="*/ 99 w 188"/>
                <a:gd name="T49" fmla="*/ 108 h 137"/>
                <a:gd name="T50" fmla="*/ 99 w 188"/>
                <a:gd name="T51" fmla="*/ 110 h 137"/>
                <a:gd name="T52" fmla="*/ 96 w 188"/>
                <a:gd name="T53" fmla="*/ 124 h 137"/>
                <a:gd name="T54" fmla="*/ 114 w 188"/>
                <a:gd name="T55" fmla="*/ 137 h 137"/>
                <a:gd name="T56" fmla="*/ 123 w 188"/>
                <a:gd name="T57" fmla="*/ 132 h 137"/>
                <a:gd name="T58" fmla="*/ 124 w 188"/>
                <a:gd name="T59" fmla="*/ 124 h 137"/>
                <a:gd name="T60" fmla="*/ 108 w 188"/>
                <a:gd name="T61" fmla="*/ 112 h 137"/>
                <a:gd name="T62" fmla="*/ 107 w 188"/>
                <a:gd name="T63" fmla="*/ 109 h 137"/>
                <a:gd name="T64" fmla="*/ 110 w 188"/>
                <a:gd name="T65" fmla="*/ 109 h 137"/>
                <a:gd name="T66" fmla="*/ 136 w 188"/>
                <a:gd name="T67" fmla="*/ 127 h 137"/>
                <a:gd name="T68" fmla="*/ 145 w 188"/>
                <a:gd name="T69" fmla="*/ 123 h 137"/>
                <a:gd name="T70" fmla="*/ 147 w 188"/>
                <a:gd name="T71" fmla="*/ 114 h 137"/>
                <a:gd name="T72" fmla="*/ 117 w 188"/>
                <a:gd name="T73" fmla="*/ 93 h 137"/>
                <a:gd name="T74" fmla="*/ 117 w 188"/>
                <a:gd name="T75" fmla="*/ 90 h 137"/>
                <a:gd name="T76" fmla="*/ 120 w 188"/>
                <a:gd name="T77" fmla="*/ 89 h 137"/>
                <a:gd name="T78" fmla="*/ 156 w 188"/>
                <a:gd name="T79" fmla="*/ 116 h 137"/>
                <a:gd name="T80" fmla="*/ 165 w 188"/>
                <a:gd name="T81" fmla="*/ 111 h 137"/>
                <a:gd name="T82" fmla="*/ 167 w 188"/>
                <a:gd name="T83" fmla="*/ 102 h 137"/>
                <a:gd name="T84" fmla="*/ 137 w 188"/>
                <a:gd name="T85" fmla="*/ 81 h 137"/>
                <a:gd name="T86" fmla="*/ 136 w 188"/>
                <a:gd name="T87" fmla="*/ 78 h 137"/>
                <a:gd name="T88" fmla="*/ 139 w 188"/>
                <a:gd name="T89" fmla="*/ 77 h 137"/>
                <a:gd name="T90" fmla="*/ 176 w 188"/>
                <a:gd name="T91" fmla="*/ 104 h 137"/>
                <a:gd name="T92" fmla="*/ 185 w 188"/>
                <a:gd name="T93" fmla="*/ 99 h 137"/>
                <a:gd name="T94" fmla="*/ 183 w 188"/>
                <a:gd name="T95" fmla="*/ 8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8" h="137">
                  <a:moveTo>
                    <a:pt x="183" y="8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2" y="38"/>
                    <a:pt x="47" y="39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6" y="38"/>
                    <a:pt x="30" y="34"/>
                    <a:pt x="26" y="27"/>
                  </a:cubicBezTo>
                  <a:cubicBezTo>
                    <a:pt x="24" y="23"/>
                    <a:pt x="23" y="19"/>
                    <a:pt x="24" y="14"/>
                  </a:cubicBezTo>
                  <a:cubicBezTo>
                    <a:pt x="24" y="9"/>
                    <a:pt x="27" y="4"/>
                    <a:pt x="31" y="0"/>
                  </a:cubicBezTo>
                  <a:cubicBezTo>
                    <a:pt x="25" y="0"/>
                    <a:pt x="21" y="0"/>
                    <a:pt x="21" y="0"/>
                  </a:cubicBezTo>
                  <a:cubicBezTo>
                    <a:pt x="21" y="0"/>
                    <a:pt x="0" y="40"/>
                    <a:pt x="1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6" y="75"/>
                    <a:pt x="10" y="72"/>
                    <a:pt x="16" y="70"/>
                  </a:cubicBezTo>
                  <a:cubicBezTo>
                    <a:pt x="18" y="70"/>
                    <a:pt x="20" y="70"/>
                    <a:pt x="22" y="70"/>
                  </a:cubicBezTo>
                  <a:cubicBezTo>
                    <a:pt x="25" y="70"/>
                    <a:pt x="29" y="72"/>
                    <a:pt x="32" y="74"/>
                  </a:cubicBezTo>
                  <a:cubicBezTo>
                    <a:pt x="35" y="72"/>
                    <a:pt x="39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8" y="72"/>
                    <a:pt x="51" y="74"/>
                    <a:pt x="53" y="76"/>
                  </a:cubicBezTo>
                  <a:cubicBezTo>
                    <a:pt x="56" y="74"/>
                    <a:pt x="60" y="73"/>
                    <a:pt x="65" y="74"/>
                  </a:cubicBezTo>
                  <a:cubicBezTo>
                    <a:pt x="65" y="74"/>
                    <a:pt x="66" y="74"/>
                    <a:pt x="67" y="74"/>
                  </a:cubicBezTo>
                  <a:cubicBezTo>
                    <a:pt x="74" y="76"/>
                    <a:pt x="79" y="81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4" y="88"/>
                    <a:pt x="84" y="88"/>
                    <a:pt x="85" y="89"/>
                  </a:cubicBezTo>
                  <a:cubicBezTo>
                    <a:pt x="94" y="91"/>
                    <a:pt x="100" y="99"/>
                    <a:pt x="99" y="108"/>
                  </a:cubicBezTo>
                  <a:cubicBezTo>
                    <a:pt x="99" y="109"/>
                    <a:pt x="99" y="110"/>
                    <a:pt x="99" y="110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7" y="137"/>
                    <a:pt x="120" y="135"/>
                    <a:pt x="123" y="132"/>
                  </a:cubicBezTo>
                  <a:cubicBezTo>
                    <a:pt x="124" y="130"/>
                    <a:pt x="125" y="127"/>
                    <a:pt x="124" y="12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7" y="111"/>
                    <a:pt x="107" y="110"/>
                    <a:pt x="107" y="109"/>
                  </a:cubicBezTo>
                  <a:cubicBezTo>
                    <a:pt x="108" y="108"/>
                    <a:pt x="109" y="108"/>
                    <a:pt x="110" y="10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40" y="127"/>
                    <a:pt x="143" y="126"/>
                    <a:pt x="145" y="123"/>
                  </a:cubicBezTo>
                  <a:cubicBezTo>
                    <a:pt x="147" y="120"/>
                    <a:pt x="147" y="117"/>
                    <a:pt x="14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16" y="92"/>
                    <a:pt x="116" y="91"/>
                    <a:pt x="117" y="90"/>
                  </a:cubicBezTo>
                  <a:cubicBezTo>
                    <a:pt x="117" y="89"/>
                    <a:pt x="119" y="89"/>
                    <a:pt x="120" y="89"/>
                  </a:cubicBezTo>
                  <a:cubicBezTo>
                    <a:pt x="156" y="116"/>
                    <a:pt x="156" y="116"/>
                    <a:pt x="156" y="116"/>
                  </a:cubicBezTo>
                  <a:cubicBezTo>
                    <a:pt x="159" y="116"/>
                    <a:pt x="163" y="114"/>
                    <a:pt x="165" y="111"/>
                  </a:cubicBezTo>
                  <a:cubicBezTo>
                    <a:pt x="167" y="108"/>
                    <a:pt x="167" y="105"/>
                    <a:pt x="167" y="102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6" y="80"/>
                    <a:pt x="136" y="79"/>
                    <a:pt x="136" y="78"/>
                  </a:cubicBezTo>
                  <a:cubicBezTo>
                    <a:pt x="137" y="77"/>
                    <a:pt x="138" y="76"/>
                    <a:pt x="139" y="77"/>
                  </a:cubicBezTo>
                  <a:cubicBezTo>
                    <a:pt x="176" y="104"/>
                    <a:pt x="176" y="104"/>
                    <a:pt x="176" y="104"/>
                  </a:cubicBezTo>
                  <a:cubicBezTo>
                    <a:pt x="180" y="104"/>
                    <a:pt x="183" y="102"/>
                    <a:pt x="185" y="99"/>
                  </a:cubicBezTo>
                  <a:cubicBezTo>
                    <a:pt x="188" y="94"/>
                    <a:pt x="187" y="87"/>
                    <a:pt x="18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">
            <a:xfrm>
              <a:off x="10615612" y="4179358"/>
              <a:ext cx="657225" cy="376238"/>
            </a:xfrm>
            <a:custGeom>
              <a:avLst/>
              <a:gdLst>
                <a:gd name="T0" fmla="*/ 127 w 175"/>
                <a:gd name="T1" fmla="*/ 31 h 100"/>
                <a:gd name="T2" fmla="*/ 119 w 175"/>
                <a:gd name="T3" fmla="*/ 28 h 100"/>
                <a:gd name="T4" fmla="*/ 62 w 175"/>
                <a:gd name="T5" fmla="*/ 2 h 100"/>
                <a:gd name="T6" fmla="*/ 49 w 175"/>
                <a:gd name="T7" fmla="*/ 3 h 100"/>
                <a:gd name="T8" fmla="*/ 26 w 175"/>
                <a:gd name="T9" fmla="*/ 16 h 100"/>
                <a:gd name="T10" fmla="*/ 9 w 175"/>
                <a:gd name="T11" fmla="*/ 25 h 100"/>
                <a:gd name="T12" fmla="*/ 4 w 175"/>
                <a:gd name="T13" fmla="*/ 45 h 100"/>
                <a:gd name="T14" fmla="*/ 15 w 175"/>
                <a:gd name="T15" fmla="*/ 52 h 100"/>
                <a:gd name="T16" fmla="*/ 23 w 175"/>
                <a:gd name="T17" fmla="*/ 50 h 100"/>
                <a:gd name="T18" fmla="*/ 23 w 175"/>
                <a:gd name="T19" fmla="*/ 50 h 100"/>
                <a:gd name="T20" fmla="*/ 57 w 175"/>
                <a:gd name="T21" fmla="*/ 32 h 100"/>
                <a:gd name="T22" fmla="*/ 79 w 175"/>
                <a:gd name="T23" fmla="*/ 42 h 100"/>
                <a:gd name="T24" fmla="*/ 109 w 175"/>
                <a:gd name="T25" fmla="*/ 64 h 100"/>
                <a:gd name="T26" fmla="*/ 158 w 175"/>
                <a:gd name="T27" fmla="*/ 99 h 100"/>
                <a:gd name="T28" fmla="*/ 159 w 175"/>
                <a:gd name="T29" fmla="*/ 100 h 100"/>
                <a:gd name="T30" fmla="*/ 173 w 175"/>
                <a:gd name="T31" fmla="*/ 97 h 100"/>
                <a:gd name="T32" fmla="*/ 154 w 175"/>
                <a:gd name="T33" fmla="*/ 29 h 100"/>
                <a:gd name="T34" fmla="*/ 127 w 175"/>
                <a:gd name="T35" fmla="*/ 3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00">
                  <a:moveTo>
                    <a:pt x="127" y="31"/>
                  </a:moveTo>
                  <a:cubicBezTo>
                    <a:pt x="125" y="31"/>
                    <a:pt x="122" y="30"/>
                    <a:pt x="119" y="28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8" y="0"/>
                    <a:pt x="53" y="1"/>
                    <a:pt x="49" y="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2" y="29"/>
                    <a:pt x="0" y="38"/>
                    <a:pt x="4" y="45"/>
                  </a:cubicBezTo>
                  <a:cubicBezTo>
                    <a:pt x="6" y="49"/>
                    <a:pt x="10" y="52"/>
                    <a:pt x="15" y="52"/>
                  </a:cubicBezTo>
                  <a:cubicBezTo>
                    <a:pt x="18" y="52"/>
                    <a:pt x="21" y="52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58" y="99"/>
                    <a:pt x="158" y="99"/>
                    <a:pt x="158" y="99"/>
                  </a:cubicBezTo>
                  <a:cubicBezTo>
                    <a:pt x="158" y="99"/>
                    <a:pt x="159" y="100"/>
                    <a:pt x="159" y="100"/>
                  </a:cubicBezTo>
                  <a:cubicBezTo>
                    <a:pt x="173" y="97"/>
                    <a:pt x="173" y="97"/>
                    <a:pt x="173" y="97"/>
                  </a:cubicBezTo>
                  <a:cubicBezTo>
                    <a:pt x="175" y="51"/>
                    <a:pt x="154" y="29"/>
                    <a:pt x="154" y="29"/>
                  </a:cubicBezTo>
                  <a:cubicBezTo>
                    <a:pt x="154" y="29"/>
                    <a:pt x="133" y="33"/>
                    <a:pt x="12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black">
            <a:xfrm>
              <a:off x="10536237" y="4544483"/>
              <a:ext cx="319088" cy="220663"/>
            </a:xfrm>
            <a:custGeom>
              <a:avLst/>
              <a:gdLst>
                <a:gd name="T0" fmla="*/ 76 w 85"/>
                <a:gd name="T1" fmla="*/ 20 h 59"/>
                <a:gd name="T2" fmla="*/ 64 w 85"/>
                <a:gd name="T3" fmla="*/ 25 h 59"/>
                <a:gd name="T4" fmla="*/ 65 w 85"/>
                <a:gd name="T5" fmla="*/ 18 h 59"/>
                <a:gd name="T6" fmla="*/ 57 w 85"/>
                <a:gd name="T7" fmla="*/ 5 h 59"/>
                <a:gd name="T8" fmla="*/ 44 w 85"/>
                <a:gd name="T9" fmla="*/ 13 h 59"/>
                <a:gd name="T10" fmla="*/ 44 w 85"/>
                <a:gd name="T11" fmla="*/ 14 h 59"/>
                <a:gd name="T12" fmla="*/ 35 w 85"/>
                <a:gd name="T13" fmla="*/ 3 h 59"/>
                <a:gd name="T14" fmla="*/ 23 w 85"/>
                <a:gd name="T15" fmla="*/ 10 h 59"/>
                <a:gd name="T16" fmla="*/ 23 w 85"/>
                <a:gd name="T17" fmla="*/ 10 h 59"/>
                <a:gd name="T18" fmla="*/ 10 w 85"/>
                <a:gd name="T19" fmla="*/ 1 h 59"/>
                <a:gd name="T20" fmla="*/ 1 w 85"/>
                <a:gd name="T21" fmla="*/ 14 h 59"/>
                <a:gd name="T22" fmla="*/ 4 w 85"/>
                <a:gd name="T23" fmla="*/ 28 h 59"/>
                <a:gd name="T24" fmla="*/ 14 w 85"/>
                <a:gd name="T25" fmla="*/ 36 h 59"/>
                <a:gd name="T26" fmla="*/ 17 w 85"/>
                <a:gd name="T27" fmla="*/ 36 h 59"/>
                <a:gd name="T28" fmla="*/ 19 w 85"/>
                <a:gd name="T29" fmla="*/ 35 h 59"/>
                <a:gd name="T30" fmla="*/ 27 w 85"/>
                <a:gd name="T31" fmla="*/ 43 h 59"/>
                <a:gd name="T32" fmla="*/ 28 w 85"/>
                <a:gd name="T33" fmla="*/ 43 h 59"/>
                <a:gd name="T34" fmla="*/ 39 w 85"/>
                <a:gd name="T35" fmla="*/ 38 h 59"/>
                <a:gd name="T36" fmla="*/ 38 w 85"/>
                <a:gd name="T37" fmla="*/ 39 h 59"/>
                <a:gd name="T38" fmla="*/ 47 w 85"/>
                <a:gd name="T39" fmla="*/ 52 h 59"/>
                <a:gd name="T40" fmla="*/ 48 w 85"/>
                <a:gd name="T41" fmla="*/ 52 h 59"/>
                <a:gd name="T42" fmla="*/ 58 w 85"/>
                <a:gd name="T43" fmla="*/ 47 h 59"/>
                <a:gd name="T44" fmla="*/ 67 w 85"/>
                <a:gd name="T45" fmla="*/ 59 h 59"/>
                <a:gd name="T46" fmla="*/ 68 w 85"/>
                <a:gd name="T47" fmla="*/ 59 h 59"/>
                <a:gd name="T48" fmla="*/ 80 w 85"/>
                <a:gd name="T49" fmla="*/ 50 h 59"/>
                <a:gd name="T50" fmla="*/ 84 w 85"/>
                <a:gd name="T51" fmla="*/ 33 h 59"/>
                <a:gd name="T52" fmla="*/ 76 w 85"/>
                <a:gd name="T53" fmla="*/ 2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" h="59">
                  <a:moveTo>
                    <a:pt x="76" y="20"/>
                  </a:moveTo>
                  <a:cubicBezTo>
                    <a:pt x="71" y="19"/>
                    <a:pt x="66" y="21"/>
                    <a:pt x="64" y="25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7" y="12"/>
                    <a:pt x="63" y="6"/>
                    <a:pt x="57" y="5"/>
                  </a:cubicBezTo>
                  <a:cubicBezTo>
                    <a:pt x="51" y="4"/>
                    <a:pt x="45" y="7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9"/>
                    <a:pt x="40" y="4"/>
                    <a:pt x="35" y="3"/>
                  </a:cubicBezTo>
                  <a:cubicBezTo>
                    <a:pt x="30" y="2"/>
                    <a:pt x="24" y="5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4"/>
                    <a:pt x="15" y="0"/>
                    <a:pt x="10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32"/>
                    <a:pt x="9" y="36"/>
                    <a:pt x="14" y="36"/>
                  </a:cubicBezTo>
                  <a:cubicBezTo>
                    <a:pt x="15" y="36"/>
                    <a:pt x="16" y="36"/>
                    <a:pt x="17" y="36"/>
                  </a:cubicBezTo>
                  <a:cubicBezTo>
                    <a:pt x="18" y="36"/>
                    <a:pt x="18" y="36"/>
                    <a:pt x="19" y="35"/>
                  </a:cubicBezTo>
                  <a:cubicBezTo>
                    <a:pt x="20" y="39"/>
                    <a:pt x="23" y="42"/>
                    <a:pt x="27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2" y="43"/>
                    <a:pt x="36" y="41"/>
                    <a:pt x="39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4"/>
                    <a:pt x="41" y="50"/>
                    <a:pt x="47" y="52"/>
                  </a:cubicBezTo>
                  <a:cubicBezTo>
                    <a:pt x="47" y="52"/>
                    <a:pt x="47" y="52"/>
                    <a:pt x="48" y="52"/>
                  </a:cubicBezTo>
                  <a:cubicBezTo>
                    <a:pt x="52" y="52"/>
                    <a:pt x="56" y="50"/>
                    <a:pt x="58" y="47"/>
                  </a:cubicBezTo>
                  <a:cubicBezTo>
                    <a:pt x="58" y="52"/>
                    <a:pt x="61" y="57"/>
                    <a:pt x="67" y="59"/>
                  </a:cubicBezTo>
                  <a:cubicBezTo>
                    <a:pt x="67" y="59"/>
                    <a:pt x="67" y="59"/>
                    <a:pt x="68" y="59"/>
                  </a:cubicBezTo>
                  <a:cubicBezTo>
                    <a:pt x="73" y="59"/>
                    <a:pt x="78" y="56"/>
                    <a:pt x="80" y="50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27"/>
                    <a:pt x="81" y="21"/>
                    <a:pt x="7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black">
            <a:xfrm>
              <a:off x="11207750" y="4239683"/>
              <a:ext cx="153988" cy="319088"/>
            </a:xfrm>
            <a:custGeom>
              <a:avLst/>
              <a:gdLst>
                <a:gd name="T0" fmla="*/ 41 w 41"/>
                <a:gd name="T1" fmla="*/ 77 h 85"/>
                <a:gd name="T2" fmla="*/ 33 w 41"/>
                <a:gd name="T3" fmla="*/ 7 h 85"/>
                <a:gd name="T4" fmla="*/ 24 w 41"/>
                <a:gd name="T5" fmla="*/ 1 h 85"/>
                <a:gd name="T6" fmla="*/ 0 w 41"/>
                <a:gd name="T7" fmla="*/ 7 h 85"/>
                <a:gd name="T8" fmla="*/ 22 w 41"/>
                <a:gd name="T9" fmla="*/ 85 h 85"/>
                <a:gd name="T10" fmla="*/ 33 w 41"/>
                <a:gd name="T11" fmla="*/ 85 h 85"/>
                <a:gd name="T12" fmla="*/ 41 w 41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5">
                  <a:moveTo>
                    <a:pt x="41" y="7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2" y="2"/>
                    <a:pt x="28" y="0"/>
                    <a:pt x="24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25" y="32"/>
                    <a:pt x="22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8" y="85"/>
                    <a:pt x="41" y="81"/>
                    <a:pt x="41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black">
            <a:xfrm>
              <a:off x="10387012" y="4206346"/>
              <a:ext cx="176213" cy="352425"/>
            </a:xfrm>
            <a:custGeom>
              <a:avLst/>
              <a:gdLst>
                <a:gd name="T0" fmla="*/ 47 w 47"/>
                <a:gd name="T1" fmla="*/ 9 h 94"/>
                <a:gd name="T2" fmla="*/ 35 w 47"/>
                <a:gd name="T3" fmla="*/ 2 h 94"/>
                <a:gd name="T4" fmla="*/ 25 w 47"/>
                <a:gd name="T5" fmla="*/ 6 h 94"/>
                <a:gd name="T6" fmla="*/ 2 w 47"/>
                <a:gd name="T7" fmla="*/ 81 h 94"/>
                <a:gd name="T8" fmla="*/ 7 w 47"/>
                <a:gd name="T9" fmla="*/ 90 h 94"/>
                <a:gd name="T10" fmla="*/ 26 w 47"/>
                <a:gd name="T11" fmla="*/ 94 h 94"/>
                <a:gd name="T12" fmla="*/ 47 w 47"/>
                <a:gd name="T13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4">
                  <a:moveTo>
                    <a:pt x="47" y="9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1" y="0"/>
                    <a:pt x="27" y="2"/>
                    <a:pt x="25" y="6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3" y="90"/>
                    <a:pt x="7" y="90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4" y="52"/>
                    <a:pt x="47" y="9"/>
                    <a:pt x="4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 dirty="0"/>
            </a:p>
          </p:txBody>
        </p:sp>
      </p:grpSp>
      <p:sp>
        <p:nvSpPr>
          <p:cNvPr id="44" name="Donut 80"/>
          <p:cNvSpPr/>
          <p:nvPr/>
        </p:nvSpPr>
        <p:spPr bwMode="auto">
          <a:xfrm>
            <a:off x="6259346" y="5936340"/>
            <a:ext cx="411188" cy="328196"/>
          </a:xfrm>
          <a:custGeom>
            <a:avLst/>
            <a:gdLst/>
            <a:ahLst/>
            <a:cxnLst/>
            <a:rect l="l" t="t" r="r" b="b"/>
            <a:pathLst>
              <a:path w="4812161" h="3840901">
                <a:moveTo>
                  <a:pt x="3296159" y="2000287"/>
                </a:moveTo>
                <a:cubicBezTo>
                  <a:pt x="3116881" y="2000287"/>
                  <a:pt x="2971547" y="2145621"/>
                  <a:pt x="2971547" y="2324899"/>
                </a:cubicBezTo>
                <a:cubicBezTo>
                  <a:pt x="2971547" y="2504177"/>
                  <a:pt x="3116881" y="2649511"/>
                  <a:pt x="3296159" y="2649511"/>
                </a:cubicBezTo>
                <a:cubicBezTo>
                  <a:pt x="3475437" y="2649511"/>
                  <a:pt x="3620771" y="2504177"/>
                  <a:pt x="3620771" y="2324899"/>
                </a:cubicBezTo>
                <a:cubicBezTo>
                  <a:pt x="3620771" y="2145621"/>
                  <a:pt x="3475437" y="2000287"/>
                  <a:pt x="3296159" y="2000287"/>
                </a:cubicBezTo>
                <a:close/>
                <a:moveTo>
                  <a:pt x="3296159" y="1675675"/>
                </a:moveTo>
                <a:cubicBezTo>
                  <a:pt x="3654716" y="1675675"/>
                  <a:pt x="3945383" y="1966342"/>
                  <a:pt x="3945383" y="2324899"/>
                </a:cubicBezTo>
                <a:cubicBezTo>
                  <a:pt x="3945383" y="2683456"/>
                  <a:pt x="3654716" y="2974123"/>
                  <a:pt x="3296159" y="2974123"/>
                </a:cubicBezTo>
                <a:cubicBezTo>
                  <a:pt x="2937602" y="2974123"/>
                  <a:pt x="2646935" y="2683456"/>
                  <a:pt x="2646935" y="2324899"/>
                </a:cubicBezTo>
                <a:cubicBezTo>
                  <a:pt x="2646935" y="1966342"/>
                  <a:pt x="2937602" y="1675675"/>
                  <a:pt x="3296159" y="1675675"/>
                </a:cubicBezTo>
                <a:close/>
                <a:moveTo>
                  <a:pt x="3296159" y="1420210"/>
                </a:moveTo>
                <a:cubicBezTo>
                  <a:pt x="2796513" y="1420210"/>
                  <a:pt x="2391470" y="1825253"/>
                  <a:pt x="2391470" y="2324899"/>
                </a:cubicBezTo>
                <a:cubicBezTo>
                  <a:pt x="2391470" y="2824545"/>
                  <a:pt x="2796513" y="3229588"/>
                  <a:pt x="3296159" y="3229588"/>
                </a:cubicBezTo>
                <a:cubicBezTo>
                  <a:pt x="3795805" y="3229588"/>
                  <a:pt x="4200848" y="2824545"/>
                  <a:pt x="4200848" y="2324899"/>
                </a:cubicBezTo>
                <a:cubicBezTo>
                  <a:pt x="4200848" y="1825253"/>
                  <a:pt x="3795805" y="1420210"/>
                  <a:pt x="3296159" y="1420210"/>
                </a:cubicBezTo>
                <a:close/>
                <a:moveTo>
                  <a:pt x="3296159" y="808897"/>
                </a:moveTo>
                <a:cubicBezTo>
                  <a:pt x="3370288" y="808897"/>
                  <a:pt x="3443173" y="814218"/>
                  <a:pt x="3514208" y="826185"/>
                </a:cubicBezTo>
                <a:cubicBezTo>
                  <a:pt x="3590275" y="1345671"/>
                  <a:pt x="4110542" y="1236614"/>
                  <a:pt x="4171519" y="1171489"/>
                </a:cubicBezTo>
                <a:lnTo>
                  <a:pt x="4215967" y="1123398"/>
                </a:lnTo>
                <a:cubicBezTo>
                  <a:pt x="4326392" y="1205433"/>
                  <a:pt x="4423576" y="1303917"/>
                  <a:pt x="4506024" y="1414131"/>
                </a:cubicBezTo>
                <a:cubicBezTo>
                  <a:pt x="4193319" y="1914120"/>
                  <a:pt x="4701014" y="2151102"/>
                  <a:pt x="4799529" y="2138412"/>
                </a:cubicBezTo>
                <a:cubicBezTo>
                  <a:pt x="4808295" y="2199419"/>
                  <a:pt x="4812161" y="2261708"/>
                  <a:pt x="4812161" y="2324899"/>
                </a:cubicBezTo>
                <a:cubicBezTo>
                  <a:pt x="4812161" y="2388615"/>
                  <a:pt x="4808231" y="2451413"/>
                  <a:pt x="4799054" y="2512849"/>
                </a:cubicBezTo>
                <a:cubicBezTo>
                  <a:pt x="4788113" y="2515889"/>
                  <a:pt x="4778304" y="2519618"/>
                  <a:pt x="4769770" y="2523906"/>
                </a:cubicBezTo>
                <a:lnTo>
                  <a:pt x="4769199" y="2523774"/>
                </a:lnTo>
                <a:cubicBezTo>
                  <a:pt x="4276600" y="2692966"/>
                  <a:pt x="4408190" y="3103551"/>
                  <a:pt x="4504674" y="3235631"/>
                </a:cubicBezTo>
                <a:cubicBezTo>
                  <a:pt x="4424185" y="3345698"/>
                  <a:pt x="4327453" y="3442859"/>
                  <a:pt x="4219101" y="3525661"/>
                </a:cubicBezTo>
                <a:cubicBezTo>
                  <a:pt x="3740127" y="3239817"/>
                  <a:pt x="3508490" y="3714698"/>
                  <a:pt x="3512861" y="3823658"/>
                </a:cubicBezTo>
                <a:cubicBezTo>
                  <a:pt x="3442266" y="3835647"/>
                  <a:pt x="3369826" y="3840901"/>
                  <a:pt x="3296159" y="3840901"/>
                </a:cubicBezTo>
                <a:cubicBezTo>
                  <a:pt x="3223977" y="3840901"/>
                  <a:pt x="3152974" y="3835857"/>
                  <a:pt x="3083692" y="3824633"/>
                </a:cubicBezTo>
                <a:cubicBezTo>
                  <a:pt x="2945132" y="3289289"/>
                  <a:pt x="2478158" y="3436602"/>
                  <a:pt x="2372141" y="3523198"/>
                </a:cubicBezTo>
                <a:cubicBezTo>
                  <a:pt x="2262805" y="3441349"/>
                  <a:pt x="2166565" y="3343329"/>
                  <a:pt x="2084868" y="3233760"/>
                </a:cubicBezTo>
                <a:cubicBezTo>
                  <a:pt x="2372460" y="2758314"/>
                  <a:pt x="1912484" y="2524914"/>
                  <a:pt x="1794482" y="2522480"/>
                </a:cubicBezTo>
                <a:cubicBezTo>
                  <a:pt x="1784508" y="2457948"/>
                  <a:pt x="1780157" y="2391932"/>
                  <a:pt x="1780157" y="2324899"/>
                </a:cubicBezTo>
                <a:cubicBezTo>
                  <a:pt x="1780157" y="2258743"/>
                  <a:pt x="1784395" y="2193577"/>
                  <a:pt x="1793487" y="2129772"/>
                </a:cubicBezTo>
                <a:cubicBezTo>
                  <a:pt x="2324943" y="2022144"/>
                  <a:pt x="2174743" y="1501516"/>
                  <a:pt x="2104500" y="1445028"/>
                </a:cubicBezTo>
                <a:lnTo>
                  <a:pt x="2079323" y="1425048"/>
                </a:lnTo>
                <a:cubicBezTo>
                  <a:pt x="2158206" y="1315063"/>
                  <a:pt x="2253175" y="1217660"/>
                  <a:pt x="2359684" y="1134258"/>
                </a:cubicBezTo>
                <a:cubicBezTo>
                  <a:pt x="2861568" y="1444701"/>
                  <a:pt x="3096870" y="926345"/>
                  <a:pt x="3079479" y="835441"/>
                </a:cubicBezTo>
                <a:lnTo>
                  <a:pt x="3077691" y="826410"/>
                </a:lnTo>
                <a:cubicBezTo>
                  <a:pt x="3148845" y="814239"/>
                  <a:pt x="3221878" y="808897"/>
                  <a:pt x="3296159" y="808897"/>
                </a:cubicBezTo>
                <a:close/>
                <a:moveTo>
                  <a:pt x="1005840" y="789098"/>
                </a:moveTo>
                <a:cubicBezTo>
                  <a:pt x="886892" y="789098"/>
                  <a:pt x="790466" y="885357"/>
                  <a:pt x="790466" y="1004099"/>
                </a:cubicBezTo>
                <a:cubicBezTo>
                  <a:pt x="790466" y="1122841"/>
                  <a:pt x="886892" y="1219101"/>
                  <a:pt x="1005840" y="1219101"/>
                </a:cubicBezTo>
                <a:cubicBezTo>
                  <a:pt x="1124788" y="1219101"/>
                  <a:pt x="1221214" y="1122841"/>
                  <a:pt x="1221214" y="1004099"/>
                </a:cubicBezTo>
                <a:cubicBezTo>
                  <a:pt x="1221214" y="885357"/>
                  <a:pt x="1124788" y="789098"/>
                  <a:pt x="1005840" y="789098"/>
                </a:cubicBezTo>
                <a:close/>
                <a:moveTo>
                  <a:pt x="1005840" y="574096"/>
                </a:moveTo>
                <a:cubicBezTo>
                  <a:pt x="1243736" y="574096"/>
                  <a:pt x="1436589" y="766615"/>
                  <a:pt x="1436589" y="1004099"/>
                </a:cubicBezTo>
                <a:cubicBezTo>
                  <a:pt x="1436589" y="1241584"/>
                  <a:pt x="1243736" y="1434102"/>
                  <a:pt x="1005840" y="1434102"/>
                </a:cubicBezTo>
                <a:cubicBezTo>
                  <a:pt x="767944" y="1434102"/>
                  <a:pt x="575092" y="1241584"/>
                  <a:pt x="575092" y="1004099"/>
                </a:cubicBezTo>
                <a:cubicBezTo>
                  <a:pt x="575092" y="766615"/>
                  <a:pt x="767944" y="574096"/>
                  <a:pt x="1005840" y="574096"/>
                </a:cubicBezTo>
                <a:close/>
                <a:moveTo>
                  <a:pt x="1005840" y="404893"/>
                </a:moveTo>
                <a:cubicBezTo>
                  <a:pt x="674334" y="404893"/>
                  <a:pt x="405595" y="673167"/>
                  <a:pt x="405595" y="1004099"/>
                </a:cubicBezTo>
                <a:cubicBezTo>
                  <a:pt x="405595" y="1335031"/>
                  <a:pt x="674334" y="1603305"/>
                  <a:pt x="1005840" y="1603305"/>
                </a:cubicBezTo>
                <a:cubicBezTo>
                  <a:pt x="1337346" y="1603305"/>
                  <a:pt x="1606085" y="1335031"/>
                  <a:pt x="1606085" y="1004099"/>
                </a:cubicBezTo>
                <a:cubicBezTo>
                  <a:pt x="1606085" y="673167"/>
                  <a:pt x="1337346" y="404893"/>
                  <a:pt x="1005840" y="404893"/>
                </a:cubicBezTo>
                <a:close/>
                <a:moveTo>
                  <a:pt x="1005840" y="0"/>
                </a:moveTo>
                <a:cubicBezTo>
                  <a:pt x="1055023" y="0"/>
                  <a:pt x="1103381" y="3524"/>
                  <a:pt x="1150512" y="11450"/>
                </a:cubicBezTo>
                <a:cubicBezTo>
                  <a:pt x="1200981" y="355524"/>
                  <a:pt x="1546169" y="283291"/>
                  <a:pt x="1586626" y="240157"/>
                </a:cubicBezTo>
                <a:lnTo>
                  <a:pt x="1616116" y="208305"/>
                </a:lnTo>
                <a:cubicBezTo>
                  <a:pt x="1689381" y="262639"/>
                  <a:pt x="1753861" y="327868"/>
                  <a:pt x="1808564" y="400867"/>
                </a:cubicBezTo>
                <a:cubicBezTo>
                  <a:pt x="1601090" y="732026"/>
                  <a:pt x="1937936" y="888988"/>
                  <a:pt x="2003299" y="880583"/>
                </a:cubicBezTo>
                <a:cubicBezTo>
                  <a:pt x="2009115" y="920990"/>
                  <a:pt x="2011680" y="962246"/>
                  <a:pt x="2011680" y="1004099"/>
                </a:cubicBezTo>
                <a:cubicBezTo>
                  <a:pt x="2011680" y="1046300"/>
                  <a:pt x="2009073" y="1087894"/>
                  <a:pt x="2002984" y="1128585"/>
                </a:cubicBezTo>
                <a:cubicBezTo>
                  <a:pt x="1995725" y="1130598"/>
                  <a:pt x="1989217" y="1133068"/>
                  <a:pt x="1983554" y="1135908"/>
                </a:cubicBezTo>
                <a:lnTo>
                  <a:pt x="1983176" y="1135821"/>
                </a:lnTo>
                <a:cubicBezTo>
                  <a:pt x="1656345" y="1247882"/>
                  <a:pt x="1743653" y="1519827"/>
                  <a:pt x="1807668" y="1607308"/>
                </a:cubicBezTo>
                <a:cubicBezTo>
                  <a:pt x="1754265" y="1680209"/>
                  <a:pt x="1690085" y="1744562"/>
                  <a:pt x="1618196" y="1799404"/>
                </a:cubicBezTo>
                <a:cubicBezTo>
                  <a:pt x="1300405" y="1610080"/>
                  <a:pt x="1146718" y="1924610"/>
                  <a:pt x="1149618" y="1996778"/>
                </a:cubicBezTo>
                <a:cubicBezTo>
                  <a:pt x="1102780" y="2004718"/>
                  <a:pt x="1054717" y="2008198"/>
                  <a:pt x="1005840" y="2008198"/>
                </a:cubicBezTo>
                <a:cubicBezTo>
                  <a:pt x="957949" y="2008198"/>
                  <a:pt x="910840" y="2004857"/>
                  <a:pt x="864872" y="1997423"/>
                </a:cubicBezTo>
                <a:cubicBezTo>
                  <a:pt x="772940" y="1642847"/>
                  <a:pt x="463111" y="1740417"/>
                  <a:pt x="392771" y="1797773"/>
                </a:cubicBezTo>
                <a:cubicBezTo>
                  <a:pt x="320228" y="1743561"/>
                  <a:pt x="256375" y="1678640"/>
                  <a:pt x="202170" y="1606068"/>
                </a:cubicBezTo>
                <a:cubicBezTo>
                  <a:pt x="392982" y="1291164"/>
                  <a:pt x="87797" y="1136576"/>
                  <a:pt x="9505" y="1134964"/>
                </a:cubicBezTo>
                <a:cubicBezTo>
                  <a:pt x="2887" y="1092222"/>
                  <a:pt x="0" y="1048497"/>
                  <a:pt x="0" y="1004099"/>
                </a:cubicBezTo>
                <a:cubicBezTo>
                  <a:pt x="0" y="960282"/>
                  <a:pt x="2812" y="917120"/>
                  <a:pt x="8844" y="874860"/>
                </a:cubicBezTo>
                <a:cubicBezTo>
                  <a:pt x="361456" y="803574"/>
                  <a:pt x="261801" y="458745"/>
                  <a:pt x="215196" y="421331"/>
                </a:cubicBezTo>
                <a:lnTo>
                  <a:pt x="198491" y="408098"/>
                </a:lnTo>
                <a:cubicBezTo>
                  <a:pt x="250829" y="335251"/>
                  <a:pt x="313839" y="270738"/>
                  <a:pt x="384506" y="215498"/>
                </a:cubicBezTo>
                <a:cubicBezTo>
                  <a:pt x="717497" y="421114"/>
                  <a:pt x="873616" y="77790"/>
                  <a:pt x="862077" y="17581"/>
                </a:cubicBezTo>
                <a:lnTo>
                  <a:pt x="860891" y="11600"/>
                </a:lnTo>
                <a:cubicBezTo>
                  <a:pt x="908100" y="3538"/>
                  <a:pt x="956556" y="0"/>
                  <a:pt x="10058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0904" y="6349712"/>
            <a:ext cx="963164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1) SI: Systems Integrator; Our skills include developer tools (e.g. .NET, SQL), Platform (e.g. Azure, SQL Server), and methodology (e.g. Agile, ITIL) 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9"/>
          <a:srcRect l="1330" t="27283" r="1300" b="28718"/>
          <a:stretch/>
        </p:blipFill>
        <p:spPr>
          <a:xfrm>
            <a:off x="514394" y="2457097"/>
            <a:ext cx="2390607" cy="798928"/>
          </a:xfrm>
          <a:prstGeom prst="rect">
            <a:avLst/>
          </a:prstGeom>
          <a:ln w="6350">
            <a:noFill/>
          </a:ln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0"/>
          <a:srcRect t="18004" r="1691" b="18301"/>
          <a:stretch/>
        </p:blipFill>
        <p:spPr>
          <a:xfrm>
            <a:off x="3033630" y="2475621"/>
            <a:ext cx="1745128" cy="854696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4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512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241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1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eal Analytics?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81002" y="1141456"/>
            <a:ext cx="6546572" cy="977833"/>
            <a:chOff x="379413" y="1104901"/>
            <a:chExt cx="6546572" cy="977833"/>
          </a:xfrm>
        </p:grpSpPr>
        <p:sp>
          <p:nvSpPr>
            <p:cNvPr id="5" name="Rectangle 4"/>
            <p:cNvSpPr/>
            <p:nvPr/>
          </p:nvSpPr>
          <p:spPr>
            <a:xfrm>
              <a:off x="379413" y="1104901"/>
              <a:ext cx="1916112" cy="977833"/>
            </a:xfrm>
            <a:prstGeom prst="rect">
              <a:avLst/>
            </a:prstGeom>
            <a:solidFill>
              <a:srgbClr val="0074AF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t">
              <a:noAutofit/>
            </a:bodyPr>
            <a:lstStyle/>
            <a:p>
              <a:r>
                <a:rPr lang="en-US" kern="0" dirty="0">
                  <a:solidFill>
                    <a:schemeClr val="bg1"/>
                  </a:solidFill>
                  <a:latin typeface="+mj-lt"/>
                </a:rPr>
                <a:t>Business</a:t>
              </a:r>
            </a:p>
            <a:p>
              <a:r>
                <a:rPr lang="en-US" kern="0" dirty="0">
                  <a:solidFill>
                    <a:schemeClr val="bg1"/>
                  </a:solidFill>
                  <a:latin typeface="+mj-lt"/>
                </a:rPr>
                <a:t>Focus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295524" y="1104901"/>
              <a:ext cx="4630461" cy="9778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ork back from </a:t>
              </a:r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fit drivers </a:t>
              </a:r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o the actionable issues on which data science can provide insight or governance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2297112" y="2155844"/>
            <a:ext cx="4630462" cy="977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focus on 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oud-based analytics: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conomy, secure sharing of results, advanced functionality and on-demand capacity</a:t>
            </a:r>
          </a:p>
        </p:txBody>
      </p:sp>
      <p:sp>
        <p:nvSpPr>
          <p:cNvPr id="8" name="Rectangle 7"/>
          <p:cNvSpPr/>
          <p:nvPr/>
        </p:nvSpPr>
        <p:spPr>
          <a:xfrm>
            <a:off x="381001" y="2171335"/>
            <a:ext cx="1916112" cy="977833"/>
          </a:xfrm>
          <a:prstGeom prst="rect">
            <a:avLst/>
          </a:prstGeom>
          <a:solidFill>
            <a:srgbClr val="0073A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kern="0" dirty="0">
                <a:solidFill>
                  <a:schemeClr val="bg1"/>
                </a:solidFill>
                <a:latin typeface="+mj-lt"/>
              </a:rPr>
              <a:t>Modern technical infrastructur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81002" y="3206786"/>
            <a:ext cx="6546572" cy="977833"/>
            <a:chOff x="379413" y="3206785"/>
            <a:chExt cx="6546572" cy="977833"/>
          </a:xfrm>
        </p:grpSpPr>
        <p:sp>
          <p:nvSpPr>
            <p:cNvPr id="10" name="Rectangle 9"/>
            <p:cNvSpPr/>
            <p:nvPr/>
          </p:nvSpPr>
          <p:spPr>
            <a:xfrm>
              <a:off x="379413" y="3206785"/>
              <a:ext cx="1916112" cy="977833"/>
            </a:xfrm>
            <a:prstGeom prst="rect">
              <a:avLst/>
            </a:prstGeom>
            <a:solidFill>
              <a:srgbClr val="0074AF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t">
              <a:noAutofit/>
            </a:bodyPr>
            <a:lstStyle/>
            <a:p>
              <a:r>
                <a:rPr lang="en-US" kern="0" dirty="0">
                  <a:solidFill>
                    <a:schemeClr val="bg1"/>
                  </a:solidFill>
                  <a:latin typeface="+mj-lt"/>
                </a:rPr>
                <a:t>Data Engineering &amp; Data Science</a:t>
              </a:r>
            </a:p>
            <a:p>
              <a:r>
                <a:rPr lang="en-US" kern="0" dirty="0">
                  <a:solidFill>
                    <a:schemeClr val="bg1"/>
                  </a:solidFill>
                  <a:latin typeface="+mj-lt"/>
                </a:rPr>
                <a:t>Expertise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295524" y="3206785"/>
              <a:ext cx="4630461" cy="9778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</a:t>
              </a:r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perience </a:t>
              </a:r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pans structured, semi-structured and streaming data sources; our data science staff includes Ph.D.’s, engineers, and MBA’s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908091" y="3682569"/>
              <a:ext cx="320529" cy="427696"/>
              <a:chOff x="-3844925" y="2109788"/>
              <a:chExt cx="2089150" cy="2787650"/>
            </a:xfrm>
            <a:solidFill>
              <a:schemeClr val="bg1"/>
            </a:solidFill>
          </p:grpSpPr>
          <p:sp>
            <p:nvSpPr>
              <p:cNvPr id="13" name="Freeform 21"/>
              <p:cNvSpPr>
                <a:spLocks noEditPoints="1"/>
              </p:cNvSpPr>
              <p:nvPr/>
            </p:nvSpPr>
            <p:spPr bwMode="auto">
              <a:xfrm>
                <a:off x="-3844925" y="3284538"/>
                <a:ext cx="1308100" cy="1612900"/>
              </a:xfrm>
              <a:custGeom>
                <a:avLst/>
                <a:gdLst>
                  <a:gd name="T0" fmla="*/ 0 w 824"/>
                  <a:gd name="T1" fmla="*/ 0 h 1016"/>
                  <a:gd name="T2" fmla="*/ 0 w 824"/>
                  <a:gd name="T3" fmla="*/ 1016 h 1016"/>
                  <a:gd name="T4" fmla="*/ 266 w 824"/>
                  <a:gd name="T5" fmla="*/ 1016 h 1016"/>
                  <a:gd name="T6" fmla="*/ 266 w 824"/>
                  <a:gd name="T7" fmla="*/ 807 h 1016"/>
                  <a:gd name="T8" fmla="*/ 375 w 824"/>
                  <a:gd name="T9" fmla="*/ 807 h 1016"/>
                  <a:gd name="T10" fmla="*/ 375 w 824"/>
                  <a:gd name="T11" fmla="*/ 1016 h 1016"/>
                  <a:gd name="T12" fmla="*/ 454 w 824"/>
                  <a:gd name="T13" fmla="*/ 1016 h 1016"/>
                  <a:gd name="T14" fmla="*/ 454 w 824"/>
                  <a:gd name="T15" fmla="*/ 807 h 1016"/>
                  <a:gd name="T16" fmla="*/ 560 w 824"/>
                  <a:gd name="T17" fmla="*/ 807 h 1016"/>
                  <a:gd name="T18" fmla="*/ 560 w 824"/>
                  <a:gd name="T19" fmla="*/ 1016 h 1016"/>
                  <a:gd name="T20" fmla="*/ 824 w 824"/>
                  <a:gd name="T21" fmla="*/ 1016 h 1016"/>
                  <a:gd name="T22" fmla="*/ 824 w 824"/>
                  <a:gd name="T23" fmla="*/ 0 h 1016"/>
                  <a:gd name="T24" fmla="*/ 0 w 824"/>
                  <a:gd name="T25" fmla="*/ 0 h 1016"/>
                  <a:gd name="T26" fmla="*/ 746 w 824"/>
                  <a:gd name="T27" fmla="*/ 740 h 1016"/>
                  <a:gd name="T28" fmla="*/ 81 w 824"/>
                  <a:gd name="T29" fmla="*/ 740 h 1016"/>
                  <a:gd name="T30" fmla="*/ 81 w 824"/>
                  <a:gd name="T31" fmla="*/ 634 h 1016"/>
                  <a:gd name="T32" fmla="*/ 746 w 824"/>
                  <a:gd name="T33" fmla="*/ 634 h 1016"/>
                  <a:gd name="T34" fmla="*/ 746 w 824"/>
                  <a:gd name="T35" fmla="*/ 740 h 1016"/>
                  <a:gd name="T36" fmla="*/ 746 w 824"/>
                  <a:gd name="T37" fmla="*/ 558 h 1016"/>
                  <a:gd name="T38" fmla="*/ 81 w 824"/>
                  <a:gd name="T39" fmla="*/ 558 h 1016"/>
                  <a:gd name="T40" fmla="*/ 81 w 824"/>
                  <a:gd name="T41" fmla="*/ 451 h 1016"/>
                  <a:gd name="T42" fmla="*/ 746 w 824"/>
                  <a:gd name="T43" fmla="*/ 451 h 1016"/>
                  <a:gd name="T44" fmla="*/ 746 w 824"/>
                  <a:gd name="T45" fmla="*/ 558 h 1016"/>
                  <a:gd name="T46" fmla="*/ 746 w 824"/>
                  <a:gd name="T47" fmla="*/ 373 h 1016"/>
                  <a:gd name="T48" fmla="*/ 81 w 824"/>
                  <a:gd name="T49" fmla="*/ 373 h 1016"/>
                  <a:gd name="T50" fmla="*/ 81 w 824"/>
                  <a:gd name="T51" fmla="*/ 266 h 1016"/>
                  <a:gd name="T52" fmla="*/ 746 w 824"/>
                  <a:gd name="T53" fmla="*/ 266 h 1016"/>
                  <a:gd name="T54" fmla="*/ 746 w 824"/>
                  <a:gd name="T55" fmla="*/ 373 h 1016"/>
                  <a:gd name="T56" fmla="*/ 746 w 824"/>
                  <a:gd name="T57" fmla="*/ 188 h 1016"/>
                  <a:gd name="T58" fmla="*/ 81 w 824"/>
                  <a:gd name="T59" fmla="*/ 188 h 1016"/>
                  <a:gd name="T60" fmla="*/ 81 w 824"/>
                  <a:gd name="T61" fmla="*/ 81 h 1016"/>
                  <a:gd name="T62" fmla="*/ 746 w 824"/>
                  <a:gd name="T63" fmla="*/ 81 h 1016"/>
                  <a:gd name="T64" fmla="*/ 746 w 824"/>
                  <a:gd name="T65" fmla="*/ 188 h 1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24" h="1016">
                    <a:moveTo>
                      <a:pt x="0" y="0"/>
                    </a:moveTo>
                    <a:lnTo>
                      <a:pt x="0" y="1016"/>
                    </a:lnTo>
                    <a:lnTo>
                      <a:pt x="266" y="1016"/>
                    </a:lnTo>
                    <a:lnTo>
                      <a:pt x="266" y="807"/>
                    </a:lnTo>
                    <a:lnTo>
                      <a:pt x="375" y="807"/>
                    </a:lnTo>
                    <a:lnTo>
                      <a:pt x="375" y="1016"/>
                    </a:lnTo>
                    <a:lnTo>
                      <a:pt x="454" y="1016"/>
                    </a:lnTo>
                    <a:lnTo>
                      <a:pt x="454" y="807"/>
                    </a:lnTo>
                    <a:lnTo>
                      <a:pt x="560" y="807"/>
                    </a:lnTo>
                    <a:lnTo>
                      <a:pt x="560" y="1016"/>
                    </a:lnTo>
                    <a:lnTo>
                      <a:pt x="824" y="1016"/>
                    </a:lnTo>
                    <a:lnTo>
                      <a:pt x="824" y="0"/>
                    </a:lnTo>
                    <a:lnTo>
                      <a:pt x="0" y="0"/>
                    </a:lnTo>
                    <a:close/>
                    <a:moveTo>
                      <a:pt x="746" y="740"/>
                    </a:moveTo>
                    <a:lnTo>
                      <a:pt x="81" y="740"/>
                    </a:lnTo>
                    <a:lnTo>
                      <a:pt x="81" y="634"/>
                    </a:lnTo>
                    <a:lnTo>
                      <a:pt x="746" y="634"/>
                    </a:lnTo>
                    <a:lnTo>
                      <a:pt x="746" y="740"/>
                    </a:lnTo>
                    <a:close/>
                    <a:moveTo>
                      <a:pt x="746" y="558"/>
                    </a:moveTo>
                    <a:lnTo>
                      <a:pt x="81" y="558"/>
                    </a:lnTo>
                    <a:lnTo>
                      <a:pt x="81" y="451"/>
                    </a:lnTo>
                    <a:lnTo>
                      <a:pt x="746" y="451"/>
                    </a:lnTo>
                    <a:lnTo>
                      <a:pt x="746" y="558"/>
                    </a:lnTo>
                    <a:close/>
                    <a:moveTo>
                      <a:pt x="746" y="373"/>
                    </a:moveTo>
                    <a:lnTo>
                      <a:pt x="81" y="373"/>
                    </a:lnTo>
                    <a:lnTo>
                      <a:pt x="81" y="266"/>
                    </a:lnTo>
                    <a:lnTo>
                      <a:pt x="746" y="266"/>
                    </a:lnTo>
                    <a:lnTo>
                      <a:pt x="746" y="373"/>
                    </a:lnTo>
                    <a:close/>
                    <a:moveTo>
                      <a:pt x="746" y="188"/>
                    </a:moveTo>
                    <a:lnTo>
                      <a:pt x="81" y="188"/>
                    </a:lnTo>
                    <a:lnTo>
                      <a:pt x="81" y="81"/>
                    </a:lnTo>
                    <a:lnTo>
                      <a:pt x="746" y="81"/>
                    </a:lnTo>
                    <a:lnTo>
                      <a:pt x="746" y="1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06" tIns="44803" rIns="89606" bIns="44803" numCol="1" anchor="t" anchorCtr="0" compatLnSpc="1">
                <a:prstTxWarp prst="textNoShape">
                  <a:avLst/>
                </a:prstTxWarp>
              </a:bodyPr>
              <a:lstStyle/>
              <a:p>
                <a:pPr defTabSz="913143"/>
                <a:endParaRPr lang="en-US" sz="1764" kern="0" dirty="0">
                  <a:solidFill>
                    <a:srgbClr val="505050"/>
                  </a:solidFill>
                  <a:latin typeface="Segoe UI"/>
                  <a:ea typeface="ＭＳ Ｐゴシック" charset="0"/>
                </a:endParaRPr>
              </a:p>
            </p:txBody>
          </p:sp>
          <p:sp>
            <p:nvSpPr>
              <p:cNvPr id="14" name="Freeform 22"/>
              <p:cNvSpPr>
                <a:spLocks noEditPoints="1"/>
              </p:cNvSpPr>
              <p:nvPr/>
            </p:nvSpPr>
            <p:spPr bwMode="auto">
              <a:xfrm>
                <a:off x="-3063875" y="2109788"/>
                <a:ext cx="1308100" cy="2787650"/>
              </a:xfrm>
              <a:custGeom>
                <a:avLst/>
                <a:gdLst>
                  <a:gd name="T0" fmla="*/ 0 w 824"/>
                  <a:gd name="T1" fmla="*/ 0 h 1756"/>
                  <a:gd name="T2" fmla="*/ 0 w 824"/>
                  <a:gd name="T3" fmla="*/ 686 h 1756"/>
                  <a:gd name="T4" fmla="*/ 80 w 824"/>
                  <a:gd name="T5" fmla="*/ 686 h 1756"/>
                  <a:gd name="T6" fmla="*/ 80 w 824"/>
                  <a:gd name="T7" fmla="*/ 636 h 1756"/>
                  <a:gd name="T8" fmla="*/ 745 w 824"/>
                  <a:gd name="T9" fmla="*/ 636 h 1756"/>
                  <a:gd name="T10" fmla="*/ 745 w 824"/>
                  <a:gd name="T11" fmla="*/ 743 h 1756"/>
                  <a:gd name="T12" fmla="*/ 410 w 824"/>
                  <a:gd name="T13" fmla="*/ 743 h 1756"/>
                  <a:gd name="T14" fmla="*/ 410 w 824"/>
                  <a:gd name="T15" fmla="*/ 821 h 1756"/>
                  <a:gd name="T16" fmla="*/ 745 w 824"/>
                  <a:gd name="T17" fmla="*/ 821 h 1756"/>
                  <a:gd name="T18" fmla="*/ 745 w 824"/>
                  <a:gd name="T19" fmla="*/ 928 h 1756"/>
                  <a:gd name="T20" fmla="*/ 410 w 824"/>
                  <a:gd name="T21" fmla="*/ 928 h 1756"/>
                  <a:gd name="T22" fmla="*/ 410 w 824"/>
                  <a:gd name="T23" fmla="*/ 1006 h 1756"/>
                  <a:gd name="T24" fmla="*/ 745 w 824"/>
                  <a:gd name="T25" fmla="*/ 1006 h 1756"/>
                  <a:gd name="T26" fmla="*/ 745 w 824"/>
                  <a:gd name="T27" fmla="*/ 1113 h 1756"/>
                  <a:gd name="T28" fmla="*/ 410 w 824"/>
                  <a:gd name="T29" fmla="*/ 1113 h 1756"/>
                  <a:gd name="T30" fmla="*/ 410 w 824"/>
                  <a:gd name="T31" fmla="*/ 1191 h 1756"/>
                  <a:gd name="T32" fmla="*/ 745 w 824"/>
                  <a:gd name="T33" fmla="*/ 1191 h 1756"/>
                  <a:gd name="T34" fmla="*/ 745 w 824"/>
                  <a:gd name="T35" fmla="*/ 1298 h 1756"/>
                  <a:gd name="T36" fmla="*/ 410 w 824"/>
                  <a:gd name="T37" fmla="*/ 1298 h 1756"/>
                  <a:gd name="T38" fmla="*/ 410 w 824"/>
                  <a:gd name="T39" fmla="*/ 1374 h 1756"/>
                  <a:gd name="T40" fmla="*/ 745 w 824"/>
                  <a:gd name="T41" fmla="*/ 1374 h 1756"/>
                  <a:gd name="T42" fmla="*/ 745 w 824"/>
                  <a:gd name="T43" fmla="*/ 1480 h 1756"/>
                  <a:gd name="T44" fmla="*/ 410 w 824"/>
                  <a:gd name="T45" fmla="*/ 1480 h 1756"/>
                  <a:gd name="T46" fmla="*/ 410 w 824"/>
                  <a:gd name="T47" fmla="*/ 1756 h 1756"/>
                  <a:gd name="T48" fmla="*/ 451 w 824"/>
                  <a:gd name="T49" fmla="*/ 1756 h 1756"/>
                  <a:gd name="T50" fmla="*/ 451 w 824"/>
                  <a:gd name="T51" fmla="*/ 1547 h 1756"/>
                  <a:gd name="T52" fmla="*/ 560 w 824"/>
                  <a:gd name="T53" fmla="*/ 1547 h 1756"/>
                  <a:gd name="T54" fmla="*/ 560 w 824"/>
                  <a:gd name="T55" fmla="*/ 1756 h 1756"/>
                  <a:gd name="T56" fmla="*/ 824 w 824"/>
                  <a:gd name="T57" fmla="*/ 1756 h 1756"/>
                  <a:gd name="T58" fmla="*/ 824 w 824"/>
                  <a:gd name="T59" fmla="*/ 0 h 1756"/>
                  <a:gd name="T60" fmla="*/ 0 w 824"/>
                  <a:gd name="T61" fmla="*/ 0 h 1756"/>
                  <a:gd name="T62" fmla="*/ 745 w 824"/>
                  <a:gd name="T63" fmla="*/ 558 h 1756"/>
                  <a:gd name="T64" fmla="*/ 80 w 824"/>
                  <a:gd name="T65" fmla="*/ 558 h 1756"/>
                  <a:gd name="T66" fmla="*/ 80 w 824"/>
                  <a:gd name="T67" fmla="*/ 451 h 1756"/>
                  <a:gd name="T68" fmla="*/ 745 w 824"/>
                  <a:gd name="T69" fmla="*/ 451 h 1756"/>
                  <a:gd name="T70" fmla="*/ 745 w 824"/>
                  <a:gd name="T71" fmla="*/ 558 h 1756"/>
                  <a:gd name="T72" fmla="*/ 745 w 824"/>
                  <a:gd name="T73" fmla="*/ 375 h 1756"/>
                  <a:gd name="T74" fmla="*/ 80 w 824"/>
                  <a:gd name="T75" fmla="*/ 375 h 1756"/>
                  <a:gd name="T76" fmla="*/ 80 w 824"/>
                  <a:gd name="T77" fmla="*/ 268 h 1756"/>
                  <a:gd name="T78" fmla="*/ 745 w 824"/>
                  <a:gd name="T79" fmla="*/ 268 h 1756"/>
                  <a:gd name="T80" fmla="*/ 745 w 824"/>
                  <a:gd name="T81" fmla="*/ 375 h 1756"/>
                  <a:gd name="T82" fmla="*/ 745 w 824"/>
                  <a:gd name="T83" fmla="*/ 190 h 1756"/>
                  <a:gd name="T84" fmla="*/ 80 w 824"/>
                  <a:gd name="T85" fmla="*/ 190 h 1756"/>
                  <a:gd name="T86" fmla="*/ 80 w 824"/>
                  <a:gd name="T87" fmla="*/ 83 h 1756"/>
                  <a:gd name="T88" fmla="*/ 745 w 824"/>
                  <a:gd name="T89" fmla="*/ 83 h 1756"/>
                  <a:gd name="T90" fmla="*/ 745 w 824"/>
                  <a:gd name="T91" fmla="*/ 190 h 1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24" h="1756">
                    <a:moveTo>
                      <a:pt x="0" y="0"/>
                    </a:moveTo>
                    <a:lnTo>
                      <a:pt x="0" y="686"/>
                    </a:lnTo>
                    <a:lnTo>
                      <a:pt x="80" y="686"/>
                    </a:lnTo>
                    <a:lnTo>
                      <a:pt x="80" y="636"/>
                    </a:lnTo>
                    <a:lnTo>
                      <a:pt x="745" y="636"/>
                    </a:lnTo>
                    <a:lnTo>
                      <a:pt x="745" y="743"/>
                    </a:lnTo>
                    <a:lnTo>
                      <a:pt x="410" y="743"/>
                    </a:lnTo>
                    <a:lnTo>
                      <a:pt x="410" y="821"/>
                    </a:lnTo>
                    <a:lnTo>
                      <a:pt x="745" y="821"/>
                    </a:lnTo>
                    <a:lnTo>
                      <a:pt x="745" y="928"/>
                    </a:lnTo>
                    <a:lnTo>
                      <a:pt x="410" y="928"/>
                    </a:lnTo>
                    <a:lnTo>
                      <a:pt x="410" y="1006"/>
                    </a:lnTo>
                    <a:lnTo>
                      <a:pt x="745" y="1006"/>
                    </a:lnTo>
                    <a:lnTo>
                      <a:pt x="745" y="1113"/>
                    </a:lnTo>
                    <a:lnTo>
                      <a:pt x="410" y="1113"/>
                    </a:lnTo>
                    <a:lnTo>
                      <a:pt x="410" y="1191"/>
                    </a:lnTo>
                    <a:lnTo>
                      <a:pt x="745" y="1191"/>
                    </a:lnTo>
                    <a:lnTo>
                      <a:pt x="745" y="1298"/>
                    </a:lnTo>
                    <a:lnTo>
                      <a:pt x="410" y="1298"/>
                    </a:lnTo>
                    <a:lnTo>
                      <a:pt x="410" y="1374"/>
                    </a:lnTo>
                    <a:lnTo>
                      <a:pt x="745" y="1374"/>
                    </a:lnTo>
                    <a:lnTo>
                      <a:pt x="745" y="1480"/>
                    </a:lnTo>
                    <a:lnTo>
                      <a:pt x="410" y="1480"/>
                    </a:lnTo>
                    <a:lnTo>
                      <a:pt x="410" y="1756"/>
                    </a:lnTo>
                    <a:lnTo>
                      <a:pt x="451" y="1756"/>
                    </a:lnTo>
                    <a:lnTo>
                      <a:pt x="451" y="1547"/>
                    </a:lnTo>
                    <a:lnTo>
                      <a:pt x="560" y="1547"/>
                    </a:lnTo>
                    <a:lnTo>
                      <a:pt x="560" y="1756"/>
                    </a:lnTo>
                    <a:lnTo>
                      <a:pt x="824" y="1756"/>
                    </a:lnTo>
                    <a:lnTo>
                      <a:pt x="824" y="0"/>
                    </a:lnTo>
                    <a:lnTo>
                      <a:pt x="0" y="0"/>
                    </a:lnTo>
                    <a:close/>
                    <a:moveTo>
                      <a:pt x="745" y="558"/>
                    </a:moveTo>
                    <a:lnTo>
                      <a:pt x="80" y="558"/>
                    </a:lnTo>
                    <a:lnTo>
                      <a:pt x="80" y="451"/>
                    </a:lnTo>
                    <a:lnTo>
                      <a:pt x="745" y="451"/>
                    </a:lnTo>
                    <a:lnTo>
                      <a:pt x="745" y="558"/>
                    </a:lnTo>
                    <a:close/>
                    <a:moveTo>
                      <a:pt x="745" y="375"/>
                    </a:moveTo>
                    <a:lnTo>
                      <a:pt x="80" y="375"/>
                    </a:lnTo>
                    <a:lnTo>
                      <a:pt x="80" y="268"/>
                    </a:lnTo>
                    <a:lnTo>
                      <a:pt x="745" y="268"/>
                    </a:lnTo>
                    <a:lnTo>
                      <a:pt x="745" y="375"/>
                    </a:lnTo>
                    <a:close/>
                    <a:moveTo>
                      <a:pt x="745" y="190"/>
                    </a:moveTo>
                    <a:lnTo>
                      <a:pt x="80" y="190"/>
                    </a:lnTo>
                    <a:lnTo>
                      <a:pt x="80" y="83"/>
                    </a:lnTo>
                    <a:lnTo>
                      <a:pt x="745" y="83"/>
                    </a:lnTo>
                    <a:lnTo>
                      <a:pt x="745" y="1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06" tIns="44803" rIns="89606" bIns="44803" numCol="1" anchor="t" anchorCtr="0" compatLnSpc="1">
                <a:prstTxWarp prst="textNoShape">
                  <a:avLst/>
                </a:prstTxWarp>
              </a:bodyPr>
              <a:lstStyle/>
              <a:p>
                <a:pPr defTabSz="913143"/>
                <a:endParaRPr lang="en-US" sz="1764" kern="0" dirty="0">
                  <a:solidFill>
                    <a:srgbClr val="505050"/>
                  </a:solidFill>
                  <a:latin typeface="Segoe UI"/>
                  <a:ea typeface="ＭＳ Ｐゴシック" charset="0"/>
                </a:endParaRP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381002" y="4257727"/>
            <a:ext cx="6546572" cy="977833"/>
            <a:chOff x="379413" y="4257726"/>
            <a:chExt cx="6546572" cy="977833"/>
          </a:xfrm>
        </p:grpSpPr>
        <p:sp>
          <p:nvSpPr>
            <p:cNvPr id="16" name="Rectangle 15"/>
            <p:cNvSpPr/>
            <p:nvPr/>
          </p:nvSpPr>
          <p:spPr>
            <a:xfrm>
              <a:off x="379413" y="4257726"/>
              <a:ext cx="1916112" cy="977833"/>
            </a:xfrm>
            <a:prstGeom prst="rect">
              <a:avLst/>
            </a:prstGeom>
            <a:solidFill>
              <a:srgbClr val="0074AF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t">
              <a:noAutofit/>
            </a:bodyPr>
            <a:lstStyle/>
            <a:p>
              <a:r>
                <a:rPr lang="en-US" kern="0" dirty="0">
                  <a:solidFill>
                    <a:schemeClr val="bg1"/>
                  </a:solidFill>
                  <a:latin typeface="+mj-lt"/>
                </a:rPr>
                <a:t>Deep Microsoft Experience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295524" y="4257726"/>
              <a:ext cx="4630461" cy="9778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practice exploits Microsoft Platforms; and we take full advantage of </a:t>
              </a:r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proximity and Gold Partner status </a:t>
              </a:r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o remain current and participate in previews</a:t>
              </a: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2023636" y="4798689"/>
              <a:ext cx="209272" cy="357977"/>
            </a:xfrm>
            <a:custGeom>
              <a:avLst/>
              <a:gdLst>
                <a:gd name="T0" fmla="*/ 899 w 961"/>
                <a:gd name="T1" fmla="*/ 0 h 1646"/>
                <a:gd name="T2" fmla="*/ 62 w 961"/>
                <a:gd name="T3" fmla="*/ 0 h 1646"/>
                <a:gd name="T4" fmla="*/ 0 w 961"/>
                <a:gd name="T5" fmla="*/ 62 h 1646"/>
                <a:gd name="T6" fmla="*/ 0 w 961"/>
                <a:gd name="T7" fmla="*/ 1584 h 1646"/>
                <a:gd name="T8" fmla="*/ 62 w 961"/>
                <a:gd name="T9" fmla="*/ 1646 h 1646"/>
                <a:gd name="T10" fmla="*/ 899 w 961"/>
                <a:gd name="T11" fmla="*/ 1646 h 1646"/>
                <a:gd name="T12" fmla="*/ 961 w 961"/>
                <a:gd name="T13" fmla="*/ 1584 h 1646"/>
                <a:gd name="T14" fmla="*/ 961 w 961"/>
                <a:gd name="T15" fmla="*/ 62 h 1646"/>
                <a:gd name="T16" fmla="*/ 899 w 961"/>
                <a:gd name="T17" fmla="*/ 0 h 1646"/>
                <a:gd name="T18" fmla="*/ 870 w 961"/>
                <a:gd name="T19" fmla="*/ 1388 h 1646"/>
                <a:gd name="T20" fmla="*/ 92 w 961"/>
                <a:gd name="T21" fmla="*/ 1388 h 1646"/>
                <a:gd name="T22" fmla="*/ 92 w 961"/>
                <a:gd name="T23" fmla="*/ 91 h 1646"/>
                <a:gd name="T24" fmla="*/ 870 w 961"/>
                <a:gd name="T25" fmla="*/ 91 h 1646"/>
                <a:gd name="T26" fmla="*/ 870 w 961"/>
                <a:gd name="T27" fmla="*/ 1388 h 1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1" h="1646">
                  <a:moveTo>
                    <a:pt x="899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1584"/>
                    <a:pt x="0" y="1584"/>
                    <a:pt x="0" y="1584"/>
                  </a:cubicBezTo>
                  <a:cubicBezTo>
                    <a:pt x="0" y="1618"/>
                    <a:pt x="28" y="1646"/>
                    <a:pt x="62" y="1646"/>
                  </a:cubicBezTo>
                  <a:cubicBezTo>
                    <a:pt x="899" y="1646"/>
                    <a:pt x="899" y="1646"/>
                    <a:pt x="899" y="1646"/>
                  </a:cubicBezTo>
                  <a:cubicBezTo>
                    <a:pt x="933" y="1646"/>
                    <a:pt x="961" y="1618"/>
                    <a:pt x="961" y="1584"/>
                  </a:cubicBezTo>
                  <a:cubicBezTo>
                    <a:pt x="961" y="62"/>
                    <a:pt x="961" y="62"/>
                    <a:pt x="961" y="62"/>
                  </a:cubicBezTo>
                  <a:cubicBezTo>
                    <a:pt x="961" y="28"/>
                    <a:pt x="933" y="0"/>
                    <a:pt x="899" y="0"/>
                  </a:cubicBezTo>
                  <a:close/>
                  <a:moveTo>
                    <a:pt x="870" y="1388"/>
                  </a:moveTo>
                  <a:cubicBezTo>
                    <a:pt x="92" y="1388"/>
                    <a:pt x="92" y="1388"/>
                    <a:pt x="92" y="1388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870" y="91"/>
                    <a:pt x="870" y="91"/>
                    <a:pt x="870" y="91"/>
                  </a:cubicBezTo>
                  <a:lnTo>
                    <a:pt x="870" y="13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606" tIns="44803" rIns="89606" bIns="44803" numCol="1" anchor="t" anchorCtr="0" compatLnSpc="1">
              <a:prstTxWarp prst="textNoShape">
                <a:avLst/>
              </a:prstTxWarp>
            </a:bodyPr>
            <a:lstStyle/>
            <a:p>
              <a:pPr defTabSz="913143"/>
              <a:endParaRPr lang="en-US" sz="1764" kern="0" dirty="0">
                <a:solidFill>
                  <a:srgbClr val="505050"/>
                </a:solidFill>
                <a:latin typeface="Segoe UI"/>
                <a:ea typeface="ＭＳ Ｐゴシック" charset="0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381001" y="5308669"/>
            <a:ext cx="1916112" cy="977833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kern="0" dirty="0">
                <a:solidFill>
                  <a:schemeClr val="bg1"/>
                </a:solidFill>
                <a:latin typeface="+mj-lt"/>
              </a:rPr>
              <a:t>Technology </a:t>
            </a:r>
            <a:br>
              <a:rPr lang="en-US" kern="0" dirty="0">
                <a:solidFill>
                  <a:schemeClr val="bg1"/>
                </a:solidFill>
                <a:latin typeface="+mj-lt"/>
              </a:rPr>
            </a:br>
            <a:r>
              <a:rPr lang="en-US" kern="0" dirty="0">
                <a:solidFill>
                  <a:schemeClr val="bg1"/>
                </a:solidFill>
                <a:latin typeface="+mj-lt"/>
              </a:rPr>
              <a:t>Transfer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297112" y="5308669"/>
            <a:ext cx="4630462" cy="977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transfer our data models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 your staff and provide training on any part of the tool chain you require</a:t>
            </a:r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1784538" y="2775309"/>
            <a:ext cx="436375" cy="256153"/>
          </a:xfrm>
          <a:custGeom>
            <a:avLst/>
            <a:gdLst>
              <a:gd name="T0" fmla="*/ 697 w 4358"/>
              <a:gd name="T1" fmla="*/ 1250 h 2850"/>
              <a:gd name="T2" fmla="*/ 697 w 4358"/>
              <a:gd name="T3" fmla="*/ 1194 h 2850"/>
              <a:gd name="T4" fmla="*/ 1899 w 4358"/>
              <a:gd name="T5" fmla="*/ 0 h 2850"/>
              <a:gd name="T6" fmla="*/ 2900 w 4358"/>
              <a:gd name="T7" fmla="*/ 533 h 2850"/>
              <a:gd name="T8" fmla="*/ 3229 w 4358"/>
              <a:gd name="T9" fmla="*/ 445 h 2850"/>
              <a:gd name="T10" fmla="*/ 3617 w 4358"/>
              <a:gd name="T11" fmla="*/ 561 h 2850"/>
              <a:gd name="T12" fmla="*/ 3926 w 4358"/>
              <a:gd name="T13" fmla="*/ 1122 h 2850"/>
              <a:gd name="T14" fmla="*/ 4358 w 4358"/>
              <a:gd name="T15" fmla="*/ 1910 h 2850"/>
              <a:gd name="T16" fmla="*/ 3517 w 4358"/>
              <a:gd name="T17" fmla="*/ 2850 h 2850"/>
              <a:gd name="T18" fmla="*/ 3413 w 4358"/>
              <a:gd name="T19" fmla="*/ 2850 h 2850"/>
              <a:gd name="T20" fmla="*/ 3317 w 4358"/>
              <a:gd name="T21" fmla="*/ 2850 h 2850"/>
              <a:gd name="T22" fmla="*/ 1354 w 4358"/>
              <a:gd name="T23" fmla="*/ 2850 h 2850"/>
              <a:gd name="T24" fmla="*/ 1315 w 4358"/>
              <a:gd name="T25" fmla="*/ 2850 h 2850"/>
              <a:gd name="T26" fmla="*/ 1266 w 4358"/>
              <a:gd name="T27" fmla="*/ 2850 h 2850"/>
              <a:gd name="T28" fmla="*/ 1122 w 4358"/>
              <a:gd name="T29" fmla="*/ 2850 h 2850"/>
              <a:gd name="T30" fmla="*/ 809 w 4358"/>
              <a:gd name="T31" fmla="*/ 2850 h 2850"/>
              <a:gd name="T32" fmla="*/ 0 w 4358"/>
              <a:gd name="T33" fmla="*/ 2046 h 2850"/>
              <a:gd name="T34" fmla="*/ 697 w 4358"/>
              <a:gd name="T35" fmla="*/ 125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358" h="2850">
                <a:moveTo>
                  <a:pt x="697" y="1250"/>
                </a:moveTo>
                <a:cubicBezTo>
                  <a:pt x="697" y="1234"/>
                  <a:pt x="697" y="1210"/>
                  <a:pt x="697" y="1194"/>
                </a:cubicBezTo>
                <a:cubicBezTo>
                  <a:pt x="697" y="533"/>
                  <a:pt x="1234" y="0"/>
                  <a:pt x="1899" y="0"/>
                </a:cubicBezTo>
                <a:cubicBezTo>
                  <a:pt x="2315" y="0"/>
                  <a:pt x="2684" y="215"/>
                  <a:pt x="2900" y="533"/>
                </a:cubicBezTo>
                <a:cubicBezTo>
                  <a:pt x="2996" y="477"/>
                  <a:pt x="3108" y="445"/>
                  <a:pt x="3229" y="445"/>
                </a:cubicBezTo>
                <a:cubicBezTo>
                  <a:pt x="3373" y="445"/>
                  <a:pt x="3506" y="488"/>
                  <a:pt x="3617" y="561"/>
                </a:cubicBezTo>
                <a:cubicBezTo>
                  <a:pt x="3800" y="683"/>
                  <a:pt x="3921" y="889"/>
                  <a:pt x="3926" y="1122"/>
                </a:cubicBezTo>
                <a:cubicBezTo>
                  <a:pt x="4182" y="1289"/>
                  <a:pt x="4358" y="1584"/>
                  <a:pt x="4358" y="1910"/>
                </a:cubicBezTo>
                <a:cubicBezTo>
                  <a:pt x="4358" y="2396"/>
                  <a:pt x="3990" y="2794"/>
                  <a:pt x="3517" y="2850"/>
                </a:cubicBezTo>
                <a:cubicBezTo>
                  <a:pt x="3485" y="2850"/>
                  <a:pt x="3445" y="2850"/>
                  <a:pt x="3413" y="2850"/>
                </a:cubicBezTo>
                <a:cubicBezTo>
                  <a:pt x="3381" y="2850"/>
                  <a:pt x="3349" y="2850"/>
                  <a:pt x="3317" y="2850"/>
                </a:cubicBezTo>
                <a:cubicBezTo>
                  <a:pt x="2876" y="2850"/>
                  <a:pt x="1843" y="2850"/>
                  <a:pt x="1354" y="2850"/>
                </a:cubicBezTo>
                <a:cubicBezTo>
                  <a:pt x="1338" y="2850"/>
                  <a:pt x="1326" y="2850"/>
                  <a:pt x="1315" y="2850"/>
                </a:cubicBezTo>
                <a:cubicBezTo>
                  <a:pt x="1266" y="2850"/>
                  <a:pt x="1266" y="2850"/>
                  <a:pt x="1266" y="2850"/>
                </a:cubicBezTo>
                <a:cubicBezTo>
                  <a:pt x="1242" y="2850"/>
                  <a:pt x="1170" y="2850"/>
                  <a:pt x="1122" y="2850"/>
                </a:cubicBezTo>
                <a:cubicBezTo>
                  <a:pt x="809" y="2850"/>
                  <a:pt x="809" y="2850"/>
                  <a:pt x="809" y="2850"/>
                </a:cubicBezTo>
                <a:cubicBezTo>
                  <a:pt x="360" y="2842"/>
                  <a:pt x="0" y="2484"/>
                  <a:pt x="0" y="2046"/>
                </a:cubicBezTo>
                <a:cubicBezTo>
                  <a:pt x="0" y="1640"/>
                  <a:pt x="304" y="1305"/>
                  <a:pt x="697" y="12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06" tIns="44803" rIns="89606" bIns="44803" numCol="1" anchor="t" anchorCtr="0" compatLnSpc="1">
            <a:prstTxWarp prst="textNoShape">
              <a:avLst/>
            </a:prstTxWarp>
          </a:bodyPr>
          <a:lstStyle/>
          <a:p>
            <a:pPr defTabSz="913143"/>
            <a:endParaRPr lang="en-US" sz="1764" kern="0" dirty="0">
              <a:solidFill>
                <a:srgbClr val="505050"/>
              </a:solidFill>
              <a:latin typeface="Segoe UI"/>
              <a:ea typeface="ＭＳ Ｐゴシック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8071226" y="1076483"/>
            <a:ext cx="306562" cy="306562"/>
            <a:chOff x="1600201" y="1157747"/>
            <a:chExt cx="1097517" cy="1097522"/>
          </a:xfrm>
          <a:solidFill>
            <a:schemeClr val="bg1"/>
          </a:solidFill>
          <a:effectLst>
            <a:outerShdw blurRad="38100" algn="ctr" rotWithShape="0">
              <a:prstClr val="black">
                <a:alpha val="60000"/>
              </a:prstClr>
            </a:outerShdw>
          </a:effectLst>
        </p:grpSpPr>
        <p:sp>
          <p:nvSpPr>
            <p:cNvPr id="28" name="Rounded Rectangle 27"/>
            <p:cNvSpPr/>
            <p:nvPr/>
          </p:nvSpPr>
          <p:spPr>
            <a:xfrm>
              <a:off x="1600201" y="1157750"/>
              <a:ext cx="206477" cy="1097519"/>
            </a:xfrm>
            <a:prstGeom prst="roundRect">
              <a:avLst>
                <a:gd name="adj" fmla="val 50000"/>
              </a:avLst>
            </a:prstGeom>
            <a:grpFill/>
          </p:spPr>
          <p:txBody>
            <a:bodyPr lIns="0" tIns="0" rIns="0" bIns="0" rtlCol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ts val="1400"/>
                </a:spcBef>
              </a:pPr>
              <a:endParaRPr lang="en-IN" sz="1400" dirty="0"/>
            </a:p>
          </p:txBody>
        </p:sp>
        <p:sp>
          <p:nvSpPr>
            <p:cNvPr id="29" name="Rounded Rectangle 28"/>
            <p:cNvSpPr/>
            <p:nvPr/>
          </p:nvSpPr>
          <p:spPr>
            <a:xfrm rot="5400000">
              <a:off x="2045721" y="712227"/>
              <a:ext cx="206478" cy="1097517"/>
            </a:xfrm>
            <a:prstGeom prst="roundRect">
              <a:avLst>
                <a:gd name="adj" fmla="val 50000"/>
              </a:avLst>
            </a:prstGeom>
            <a:grpFill/>
          </p:spPr>
          <p:txBody>
            <a:bodyPr lIns="0" tIns="0" rIns="0" bIns="0" rtlCol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ts val="1400"/>
                </a:spcBef>
              </a:pPr>
              <a:endParaRPr lang="en-IN" sz="1400" dirty="0"/>
            </a:p>
          </p:txBody>
        </p:sp>
      </p:grpSp>
      <p:grpSp>
        <p:nvGrpSpPr>
          <p:cNvPr id="25" name="Group 24"/>
          <p:cNvGrpSpPr/>
          <p:nvPr/>
        </p:nvGrpSpPr>
        <p:grpSpPr>
          <a:xfrm rot="10800000">
            <a:off x="11569151" y="6008356"/>
            <a:ext cx="306562" cy="306562"/>
            <a:chOff x="1600201" y="1157747"/>
            <a:chExt cx="1097517" cy="1097522"/>
          </a:xfrm>
          <a:solidFill>
            <a:schemeClr val="bg1"/>
          </a:solidFill>
          <a:effectLst>
            <a:outerShdw blurRad="38100" algn="ctr" rotWithShape="0">
              <a:prstClr val="black">
                <a:alpha val="60000"/>
              </a:prstClr>
            </a:outerShdw>
          </a:effectLst>
        </p:grpSpPr>
        <p:sp>
          <p:nvSpPr>
            <p:cNvPr id="26" name="Rounded Rectangle 25"/>
            <p:cNvSpPr/>
            <p:nvPr/>
          </p:nvSpPr>
          <p:spPr>
            <a:xfrm>
              <a:off x="1600201" y="1157750"/>
              <a:ext cx="206477" cy="1097519"/>
            </a:xfrm>
            <a:prstGeom prst="roundRect">
              <a:avLst>
                <a:gd name="adj" fmla="val 50000"/>
              </a:avLst>
            </a:prstGeom>
            <a:grpFill/>
          </p:spPr>
          <p:txBody>
            <a:bodyPr lIns="0" tIns="0" rIns="0" bIns="0" rtlCol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ts val="1400"/>
                </a:spcBef>
              </a:pPr>
              <a:endParaRPr lang="en-IN" sz="1400" dirty="0"/>
            </a:p>
          </p:txBody>
        </p:sp>
        <p:sp>
          <p:nvSpPr>
            <p:cNvPr id="27" name="Rounded Rectangle 26"/>
            <p:cNvSpPr/>
            <p:nvPr/>
          </p:nvSpPr>
          <p:spPr>
            <a:xfrm rot="5400000">
              <a:off x="2045721" y="712227"/>
              <a:ext cx="206478" cy="1097517"/>
            </a:xfrm>
            <a:prstGeom prst="roundRect">
              <a:avLst>
                <a:gd name="adj" fmla="val 50000"/>
              </a:avLst>
            </a:prstGeom>
            <a:grpFill/>
          </p:spPr>
          <p:txBody>
            <a:bodyPr lIns="0" tIns="0" rIns="0" bIns="0" rtlCol="0" anchor="ctr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ts val="1400"/>
                </a:spcBef>
              </a:pPr>
              <a:endParaRPr lang="en-IN" sz="1400" dirty="0"/>
            </a:p>
          </p:txBody>
        </p:sp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2841" y="1538520"/>
            <a:ext cx="494270" cy="580768"/>
          </a:xfrm>
          <a:prstGeom prst="rect">
            <a:avLst/>
          </a:prstGeom>
        </p:spPr>
      </p:pic>
      <p:sp>
        <p:nvSpPr>
          <p:cNvPr id="31" name="Freeform 26"/>
          <p:cNvSpPr>
            <a:spLocks/>
          </p:cNvSpPr>
          <p:nvPr/>
        </p:nvSpPr>
        <p:spPr bwMode="auto">
          <a:xfrm>
            <a:off x="1819294" y="5697630"/>
            <a:ext cx="381467" cy="428183"/>
          </a:xfrm>
          <a:custGeom>
            <a:avLst/>
            <a:gdLst>
              <a:gd name="T0" fmla="*/ 2024 w 2372"/>
              <a:gd name="T1" fmla="*/ 639 h 2663"/>
              <a:gd name="T2" fmla="*/ 1819 w 2372"/>
              <a:gd name="T3" fmla="*/ 844 h 2663"/>
              <a:gd name="T4" fmla="*/ 2081 w 2372"/>
              <a:gd name="T5" fmla="*/ 1477 h 2663"/>
              <a:gd name="T6" fmla="*/ 1186 w 2372"/>
              <a:gd name="T7" fmla="*/ 2373 h 2663"/>
              <a:gd name="T8" fmla="*/ 290 w 2372"/>
              <a:gd name="T9" fmla="*/ 1477 h 2663"/>
              <a:gd name="T10" fmla="*/ 1186 w 2372"/>
              <a:gd name="T11" fmla="*/ 582 h 2663"/>
              <a:gd name="T12" fmla="*/ 1186 w 2372"/>
              <a:gd name="T13" fmla="*/ 898 h 2663"/>
              <a:gd name="T14" fmla="*/ 1635 w 2372"/>
              <a:gd name="T15" fmla="*/ 449 h 2663"/>
              <a:gd name="T16" fmla="*/ 1186 w 2372"/>
              <a:gd name="T17" fmla="*/ 0 h 2663"/>
              <a:gd name="T18" fmla="*/ 1186 w 2372"/>
              <a:gd name="T19" fmla="*/ 291 h 2663"/>
              <a:gd name="T20" fmla="*/ 0 w 2372"/>
              <a:gd name="T21" fmla="*/ 1477 h 2663"/>
              <a:gd name="T22" fmla="*/ 1186 w 2372"/>
              <a:gd name="T23" fmla="*/ 2663 h 2663"/>
              <a:gd name="T24" fmla="*/ 2372 w 2372"/>
              <a:gd name="T25" fmla="*/ 1477 h 2663"/>
              <a:gd name="T26" fmla="*/ 2024 w 2372"/>
              <a:gd name="T27" fmla="*/ 639 h 2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372" h="2663">
                <a:moveTo>
                  <a:pt x="2024" y="639"/>
                </a:moveTo>
                <a:cubicBezTo>
                  <a:pt x="1819" y="844"/>
                  <a:pt x="1819" y="844"/>
                  <a:pt x="1819" y="844"/>
                </a:cubicBezTo>
                <a:cubicBezTo>
                  <a:pt x="1981" y="1006"/>
                  <a:pt x="2081" y="1230"/>
                  <a:pt x="2081" y="1477"/>
                </a:cubicBezTo>
                <a:cubicBezTo>
                  <a:pt x="2081" y="1972"/>
                  <a:pt x="1680" y="2373"/>
                  <a:pt x="1186" y="2373"/>
                </a:cubicBezTo>
                <a:cubicBezTo>
                  <a:pt x="691" y="2373"/>
                  <a:pt x="290" y="1972"/>
                  <a:pt x="290" y="1477"/>
                </a:cubicBezTo>
                <a:cubicBezTo>
                  <a:pt x="290" y="983"/>
                  <a:pt x="691" y="582"/>
                  <a:pt x="1186" y="582"/>
                </a:cubicBezTo>
                <a:cubicBezTo>
                  <a:pt x="1186" y="898"/>
                  <a:pt x="1186" y="898"/>
                  <a:pt x="1186" y="898"/>
                </a:cubicBezTo>
                <a:cubicBezTo>
                  <a:pt x="1635" y="449"/>
                  <a:pt x="1635" y="449"/>
                  <a:pt x="1635" y="449"/>
                </a:cubicBezTo>
                <a:cubicBezTo>
                  <a:pt x="1186" y="0"/>
                  <a:pt x="1186" y="0"/>
                  <a:pt x="1186" y="0"/>
                </a:cubicBezTo>
                <a:cubicBezTo>
                  <a:pt x="1186" y="291"/>
                  <a:pt x="1186" y="291"/>
                  <a:pt x="1186" y="291"/>
                </a:cubicBezTo>
                <a:cubicBezTo>
                  <a:pt x="531" y="291"/>
                  <a:pt x="0" y="822"/>
                  <a:pt x="0" y="1477"/>
                </a:cubicBezTo>
                <a:cubicBezTo>
                  <a:pt x="0" y="2132"/>
                  <a:pt x="531" y="2663"/>
                  <a:pt x="1186" y="2663"/>
                </a:cubicBezTo>
                <a:cubicBezTo>
                  <a:pt x="1841" y="2663"/>
                  <a:pt x="2372" y="2132"/>
                  <a:pt x="2372" y="1477"/>
                </a:cubicBezTo>
                <a:cubicBezTo>
                  <a:pt x="2372" y="1150"/>
                  <a:pt x="2239" y="853"/>
                  <a:pt x="2024" y="6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606" tIns="44803" rIns="89606" bIns="44803" numCol="1" anchor="t" anchorCtr="0" compatLnSpc="1">
            <a:prstTxWarp prst="textNoShape">
              <a:avLst/>
            </a:prstTxWarp>
          </a:bodyPr>
          <a:lstStyle/>
          <a:p>
            <a:pPr defTabSz="913143"/>
            <a:endParaRPr lang="en-US" sz="1764" kern="0" dirty="0">
              <a:solidFill>
                <a:srgbClr val="505050"/>
              </a:solidFill>
              <a:latin typeface="Segoe UI"/>
              <a:ea typeface="ＭＳ Ｐゴシック" charset="0"/>
            </a:endParaRPr>
          </a:p>
        </p:txBody>
      </p:sp>
      <p:sp>
        <p:nvSpPr>
          <p:cNvPr id="34" name="Slide Number Placeholder 3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5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pic>
        <p:nvPicPr>
          <p:cNvPr id="270390" name="Picture 54" descr="https://www.west.com/wp-content/uploads/2015/02/west_careers_bdy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8493" y="1134157"/>
            <a:ext cx="4782030" cy="514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38546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7282" y="132912"/>
            <a:ext cx="11474263" cy="701731"/>
          </a:xfrm>
        </p:spPr>
        <p:txBody>
          <a:bodyPr/>
          <a:lstStyle/>
          <a:p>
            <a:r>
              <a:rPr lang="en-US" dirty="0"/>
              <a:t>Engagement Models for Neal Analytic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1476" y="865668"/>
            <a:ext cx="3518511" cy="461665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</a:rPr>
              <a:t>Project-Based Work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1476" y="1327333"/>
            <a:ext cx="3518514" cy="5134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Highly defined statements of work written by sales in conjunction with delivery due diligenc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efined engagement cycle and timeline for delivery with incremental deliverable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Works best for projects with a definable outcome and goals with organizational buy-off within customer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taff operates under guidance of Neal management with an engagement cadence defined in the statement of work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eliverable, retainer, or milestone based billing to support client need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6</a:t>
            </a:fld>
            <a:endParaRPr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176424" y="865668"/>
            <a:ext cx="3518511" cy="461665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</a:rPr>
              <a:t>Managed Servic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176424" y="1327333"/>
            <a:ext cx="3518514" cy="5134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KPIs and SLAs define the hallmark of a successful multi-year long-term outsourcing arrangement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Ratios of people defined for tasks and job-roles enabling hybrid teaming and staffed resource scalability across multiple projects &amp; organization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taff engages under advisement of managerial lead, from either Neal or Customer who defines sprint-based engagement cadence for managed service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Highly defined outsourced value proposition and firm-based engagement cadenc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Billing based on defined monthly engagement cadence, or paid by retainer in advanc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981372" y="865668"/>
            <a:ext cx="3518511" cy="461665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</a:rPr>
              <a:t>Talent Solution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981369" y="1327333"/>
            <a:ext cx="3518514" cy="5134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killed human across a ride range of tech skill areas to augment long or short-term need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nnual, monthly, contract to hire, and executive search engagement model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RIBA and other HR system complianc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Wide network and ability to fill any role across data, analytics, engineering, marketing, sales, and operation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Engagement defined by direct management of resource by customer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44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16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7282" y="132912"/>
            <a:ext cx="11474263" cy="701731"/>
          </a:xfrm>
        </p:spPr>
        <p:txBody>
          <a:bodyPr/>
          <a:lstStyle/>
          <a:p>
            <a:r>
              <a:rPr lang="en-US" dirty="0"/>
              <a:t>Services Area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1476" y="877098"/>
            <a:ext cx="3518511" cy="461665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</a:rPr>
              <a:t>Infrastructur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1476" y="1327332"/>
            <a:ext cx="3518514" cy="53465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zure Lift and Shift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atabase / OS / App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ERP / Enterprise App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atacenter Migration Service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QL On-</a:t>
            </a:r>
            <a:r>
              <a:rPr lang="en-US" sz="16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prem</a:t>
            </a: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 to SQL Azure DW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Competitive win back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Big Data Architecture/Migration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Enterprise Architecture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zure AD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Master Data Management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dvanced Data Service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HPC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Video Service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PowerBI Back-end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176424" y="877098"/>
            <a:ext cx="3518511" cy="461665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</a:rPr>
              <a:t>Data &amp; Visualiza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176424" y="1327333"/>
            <a:ext cx="3518514" cy="53465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PowerBI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zure Analysis Services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QL DW, SQL IAAS, SQL Azur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ata Management (ADF, Event Hubs, Data Lake, SQL Azure DB, SQL Azure DW)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QL Server/Developer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Microsoft R Server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IOT (Stream Analytics, ML models)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Data Warehouse (SQL Server, Azure SQL DW, Azure SQL)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zure Data Lake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HDInsight, </a:t>
            </a:r>
            <a:r>
              <a:rPr lang="en-US" sz="16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ClouderaSparkR</a:t>
            </a: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, Hadoop Animal Farm (ELK stack, etc.)</a:t>
            </a: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981372" y="877098"/>
            <a:ext cx="3518511" cy="461665"/>
          </a:xfrm>
          <a:prstGeom prst="rect">
            <a:avLst/>
          </a:prstGeom>
          <a:solidFill>
            <a:srgbClr val="0074AF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FFFFFF"/>
                </a:solidFill>
                <a:latin typeface="Segoe UI Light" panose="020B0502040204020203" pitchFamily="34" charset="0"/>
              </a:rPr>
              <a:t>AI &amp; Machine Learning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981369" y="1327333"/>
            <a:ext cx="3518514" cy="53465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Finished Solutions available in and separate from </a:t>
            </a:r>
            <a:r>
              <a:rPr lang="en-US" sz="1600" dirty="0" err="1">
                <a:solidFill>
                  <a:srgbClr val="000000">
                    <a:lumMod val="75000"/>
                    <a:lumOff val="25000"/>
                  </a:srgbClr>
                </a:solidFill>
              </a:rPr>
              <a:t>AppSource</a:t>
            </a:r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Retail</a:t>
            </a: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: SKU-Max, Market-Mix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Manufacturing: </a:t>
            </a: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Quality-Max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Ops/Supply Chain: </a:t>
            </a: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Predictive Maintenance, Asset Mgmt.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Bots: </a:t>
            </a: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Business process Automation, Expert System</a:t>
            </a: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168275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Special Project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Advanced Analytics project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Bespoke/custom engagements for a net-new scenario ($$$)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Business/Technical Envisioning session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Executive Envisioning Workshops</a:t>
            </a:r>
          </a:p>
          <a:p>
            <a:pPr marL="625475" lvl="1" indent="-168275">
              <a:spcBef>
                <a:spcPts val="600"/>
              </a:spcBef>
              <a:spcAft>
                <a:spcPts val="300"/>
              </a:spcAft>
              <a:buFont typeface="Arial"/>
              <a:buChar char="•"/>
            </a:pPr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Microsoft-based Product Optimization</a:t>
            </a:r>
          </a:p>
        </p:txBody>
      </p:sp>
    </p:spTree>
    <p:extLst>
      <p:ext uri="{BB962C8B-B14F-4D97-AF65-F5344CB8AC3E}">
        <p14:creationId xmlns:p14="http://schemas.microsoft.com/office/powerpoint/2010/main" val="1028895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68300" y="1066801"/>
          <a:ext cx="11463245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9045">
                  <a:extLst>
                    <a:ext uri="{9D8B030D-6E8A-4147-A177-3AD203B41FA5}">
                      <a16:colId xmlns:a16="http://schemas.microsoft.com/office/drawing/2014/main" val="695169472"/>
                    </a:ext>
                  </a:extLst>
                </a:gridCol>
                <a:gridCol w="4807130">
                  <a:extLst>
                    <a:ext uri="{9D8B030D-6E8A-4147-A177-3AD203B41FA5}">
                      <a16:colId xmlns:a16="http://schemas.microsoft.com/office/drawing/2014/main" val="1001718730"/>
                    </a:ext>
                  </a:extLst>
                </a:gridCol>
                <a:gridCol w="4667070">
                  <a:extLst>
                    <a:ext uri="{9D8B030D-6E8A-4147-A177-3AD203B41FA5}">
                      <a16:colId xmlns:a16="http://schemas.microsoft.com/office/drawing/2014/main" val="41150680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0074AF"/>
                          </a:solidFill>
                        </a:rPr>
                        <a:t>Retail/CPG</a:t>
                      </a: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74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0074AF"/>
                          </a:solidFill>
                        </a:rPr>
                        <a:t>Manufacturing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74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9323808"/>
                  </a:ext>
                </a:extLst>
              </a:tr>
              <a:tr h="1402080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ales &amp;</a:t>
                      </a:r>
                      <a:b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arketing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4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4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453466"/>
                  </a:ext>
                </a:extLst>
              </a:tr>
              <a:tr h="1402080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oduct &amp; Competition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400210"/>
                  </a:ext>
                </a:extLst>
              </a:tr>
              <a:tr h="1402080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Ops &amp;</a:t>
                      </a:r>
                      <a:b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pply Chain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0620634"/>
                  </a:ext>
                </a:extLst>
              </a:tr>
            </a:tbl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57282" y="168276"/>
            <a:ext cx="11474263" cy="701731"/>
          </a:xfrm>
        </p:spPr>
        <p:txBody>
          <a:bodyPr/>
          <a:lstStyle/>
          <a:p>
            <a:r>
              <a:rPr lang="en-US" dirty="0"/>
              <a:t>Finished Solutions: Technology Scal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940178" y="2911845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Quality Managemen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436067" y="1499975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ales Driver Analysi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293146" y="1499975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ale/Ordering</a:t>
            </a:r>
            <a:b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</a:b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Agen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436067" y="2895706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KU Optimiza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293146" y="2895706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Pricing Optimiza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436067" y="4302874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tock Replenishmen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293146" y="4302874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Asset Management</a:t>
            </a:r>
          </a:p>
        </p:txBody>
      </p:sp>
      <p:sp>
        <p:nvSpPr>
          <p:cNvPr id="26" name="Rectangle 25"/>
          <p:cNvSpPr/>
          <p:nvPr/>
        </p:nvSpPr>
        <p:spPr>
          <a:xfrm>
            <a:off x="8083099" y="4302874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RUL-Predictive Maintenanc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940178" y="4302874"/>
            <a:ext cx="1658112" cy="127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Field Service</a:t>
            </a:r>
          </a:p>
        </p:txBody>
      </p:sp>
      <p:sp>
        <p:nvSpPr>
          <p:cNvPr id="28" name="Oval 27"/>
          <p:cNvSpPr/>
          <p:nvPr/>
        </p:nvSpPr>
        <p:spPr>
          <a:xfrm>
            <a:off x="359304" y="5829300"/>
            <a:ext cx="365125" cy="365125"/>
          </a:xfrm>
          <a:prstGeom prst="ellipse">
            <a:avLst/>
          </a:prstGeom>
          <a:solidFill>
            <a:srgbClr val="0074AF"/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1923430" y="5829300"/>
            <a:ext cx="365125" cy="365125"/>
          </a:xfrm>
          <a:prstGeom prst="ellipse">
            <a:avLst/>
          </a:prstGeom>
          <a:solidFill>
            <a:srgbClr val="0074AF"/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3580230" y="5829300"/>
            <a:ext cx="365125" cy="365125"/>
          </a:xfrm>
          <a:prstGeom prst="ellipse">
            <a:avLst/>
          </a:prstGeom>
          <a:solidFill>
            <a:srgbClr val="0074AF"/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24429" y="5857974"/>
            <a:ext cx="1205689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Autofit/>
          </a:bodyPr>
          <a:lstStyle/>
          <a:p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Complet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288556" y="5857974"/>
            <a:ext cx="1270338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Autofit/>
          </a:bodyPr>
          <a:lstStyle/>
          <a:p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In Progres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945355" y="5857974"/>
            <a:ext cx="2128946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Autofit/>
          </a:bodyPr>
          <a:lstStyle/>
          <a:p>
            <a:r>
              <a:rPr lang="en-US" sz="14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Planned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3605306" y="5868194"/>
            <a:ext cx="314196" cy="287336"/>
            <a:chOff x="-1366712" y="4281777"/>
            <a:chExt cx="1133903" cy="1036969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-1061917" y="4663453"/>
              <a:ext cx="524314" cy="655293"/>
              <a:chOff x="-1065049" y="4663453"/>
              <a:chExt cx="524314" cy="655293"/>
            </a:xfrm>
            <a:grpFill/>
          </p:grpSpPr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-1065049" y="4663453"/>
                <a:ext cx="524314" cy="655293"/>
              </a:xfrm>
              <a:custGeom>
                <a:avLst/>
                <a:gdLst>
                  <a:gd name="connsiteX0" fmla="*/ 1110780 w 2143550"/>
                  <a:gd name="connsiteY0" fmla="*/ 273044 h 2679029"/>
                  <a:gd name="connsiteX1" fmla="*/ 653738 w 2143550"/>
                  <a:gd name="connsiteY1" fmla="*/ 394090 h 2679029"/>
                  <a:gd name="connsiteX2" fmla="*/ 280586 w 2143550"/>
                  <a:gd name="connsiteY2" fmla="*/ 1206627 h 2679029"/>
                  <a:gd name="connsiteX3" fmla="*/ 689940 w 2143550"/>
                  <a:gd name="connsiteY3" fmla="*/ 1777073 h 2679029"/>
                  <a:gd name="connsiteX4" fmla="*/ 804113 w 2143550"/>
                  <a:gd name="connsiteY4" fmla="*/ 1969077 h 2679029"/>
                  <a:gd name="connsiteX5" fmla="*/ 804113 w 2143550"/>
                  <a:gd name="connsiteY5" fmla="*/ 2102644 h 2679029"/>
                  <a:gd name="connsiteX6" fmla="*/ 843099 w 2143550"/>
                  <a:gd name="connsiteY6" fmla="*/ 2144384 h 2679029"/>
                  <a:gd name="connsiteX7" fmla="*/ 1071446 w 2143550"/>
                  <a:gd name="connsiteY7" fmla="*/ 2141602 h 2679029"/>
                  <a:gd name="connsiteX8" fmla="*/ 1177265 w 2143550"/>
                  <a:gd name="connsiteY8" fmla="*/ 2141602 h 2679029"/>
                  <a:gd name="connsiteX9" fmla="*/ 1327640 w 2143550"/>
                  <a:gd name="connsiteY9" fmla="*/ 2133254 h 2679029"/>
                  <a:gd name="connsiteX10" fmla="*/ 1338779 w 2143550"/>
                  <a:gd name="connsiteY10" fmla="*/ 1980207 h 2679029"/>
                  <a:gd name="connsiteX11" fmla="*/ 1452952 w 2143550"/>
                  <a:gd name="connsiteY11" fmla="*/ 1774290 h 2679029"/>
                  <a:gd name="connsiteX12" fmla="*/ 1681299 w 2143550"/>
                  <a:gd name="connsiteY12" fmla="*/ 1585069 h 2679029"/>
                  <a:gd name="connsiteX13" fmla="*/ 1856737 w 2143550"/>
                  <a:gd name="connsiteY13" fmla="*/ 911665 h 2679029"/>
                  <a:gd name="connsiteX14" fmla="*/ 1553202 w 2143550"/>
                  <a:gd name="connsiteY14" fmla="*/ 435830 h 2679029"/>
                  <a:gd name="connsiteX15" fmla="*/ 1110780 w 2143550"/>
                  <a:gd name="connsiteY15" fmla="*/ 273044 h 2679029"/>
                  <a:gd name="connsiteX16" fmla="*/ 1076913 w 2143550"/>
                  <a:gd name="connsiteY16" fmla="*/ 23 h 2679029"/>
                  <a:gd name="connsiteX17" fmla="*/ 1595110 w 2143550"/>
                  <a:gd name="connsiteY17" fmla="*/ 142172 h 2679029"/>
                  <a:gd name="connsiteX18" fmla="*/ 2043206 w 2143550"/>
                  <a:gd name="connsiteY18" fmla="*/ 629487 h 2679029"/>
                  <a:gd name="connsiteX19" fmla="*/ 2143401 w 2143550"/>
                  <a:gd name="connsiteY19" fmla="*/ 1033262 h 2679029"/>
                  <a:gd name="connsiteX20" fmla="*/ 1812200 w 2143550"/>
                  <a:gd name="connsiteY20" fmla="*/ 1851952 h 2679029"/>
                  <a:gd name="connsiteX21" fmla="*/ 1645208 w 2143550"/>
                  <a:gd name="connsiteY21" fmla="*/ 1982831 h 2679029"/>
                  <a:gd name="connsiteX22" fmla="*/ 1606243 w 2143550"/>
                  <a:gd name="connsiteY22" fmla="*/ 2052447 h 2679029"/>
                  <a:gd name="connsiteX23" fmla="*/ 1583978 w 2143550"/>
                  <a:gd name="connsiteY23" fmla="*/ 2308636 h 2679029"/>
                  <a:gd name="connsiteX24" fmla="*/ 1080218 w 2143550"/>
                  <a:gd name="connsiteY24" fmla="*/ 2678995 h 2679029"/>
                  <a:gd name="connsiteX25" fmla="*/ 595941 w 2143550"/>
                  <a:gd name="connsiteY25" fmla="*/ 2403314 h 2679029"/>
                  <a:gd name="connsiteX26" fmla="*/ 537494 w 2143550"/>
                  <a:gd name="connsiteY26" fmla="*/ 2141556 h 2679029"/>
                  <a:gd name="connsiteX27" fmla="*/ 437299 w 2143550"/>
                  <a:gd name="connsiteY27" fmla="*/ 1932707 h 2679029"/>
                  <a:gd name="connsiteX28" fmla="*/ 14252 w 2143550"/>
                  <a:gd name="connsiteY28" fmla="*/ 1244896 h 2679029"/>
                  <a:gd name="connsiteX29" fmla="*/ 209076 w 2143550"/>
                  <a:gd name="connsiteY29" fmla="*/ 428991 h 2679029"/>
                  <a:gd name="connsiteX30" fmla="*/ 893744 w 2143550"/>
                  <a:gd name="connsiteY30" fmla="*/ 14077 h 2679029"/>
                  <a:gd name="connsiteX31" fmla="*/ 1076913 w 2143550"/>
                  <a:gd name="connsiteY31" fmla="*/ 23 h 2679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143550" h="2679029">
                    <a:moveTo>
                      <a:pt x="1110780" y="273044"/>
                    </a:moveTo>
                    <a:cubicBezTo>
                      <a:pt x="952399" y="264696"/>
                      <a:pt x="791582" y="303654"/>
                      <a:pt x="653738" y="394090"/>
                    </a:cubicBezTo>
                    <a:cubicBezTo>
                      <a:pt x="361343" y="586094"/>
                      <a:pt x="233246" y="856012"/>
                      <a:pt x="280586" y="1206627"/>
                    </a:cubicBezTo>
                    <a:cubicBezTo>
                      <a:pt x="316788" y="1465415"/>
                      <a:pt x="469947" y="1646288"/>
                      <a:pt x="689940" y="1777073"/>
                    </a:cubicBezTo>
                    <a:cubicBezTo>
                      <a:pt x="762343" y="1821595"/>
                      <a:pt x="801329" y="1882814"/>
                      <a:pt x="804113" y="1969077"/>
                    </a:cubicBezTo>
                    <a:cubicBezTo>
                      <a:pt x="804113" y="2013599"/>
                      <a:pt x="806898" y="2058122"/>
                      <a:pt x="804113" y="2102644"/>
                    </a:cubicBezTo>
                    <a:cubicBezTo>
                      <a:pt x="801329" y="2133254"/>
                      <a:pt x="809683" y="2144384"/>
                      <a:pt x="843099" y="2144384"/>
                    </a:cubicBezTo>
                    <a:cubicBezTo>
                      <a:pt x="918287" y="2141602"/>
                      <a:pt x="996259" y="2141602"/>
                      <a:pt x="1071446" y="2141602"/>
                    </a:cubicBezTo>
                    <a:cubicBezTo>
                      <a:pt x="1107647" y="2141602"/>
                      <a:pt x="1141064" y="2141602"/>
                      <a:pt x="1177265" y="2141602"/>
                    </a:cubicBezTo>
                    <a:cubicBezTo>
                      <a:pt x="1227390" y="2141602"/>
                      <a:pt x="1297008" y="2161080"/>
                      <a:pt x="1327640" y="2133254"/>
                    </a:cubicBezTo>
                    <a:cubicBezTo>
                      <a:pt x="1363842" y="2102644"/>
                      <a:pt x="1338779" y="2033078"/>
                      <a:pt x="1338779" y="1980207"/>
                    </a:cubicBezTo>
                    <a:cubicBezTo>
                      <a:pt x="1335994" y="1888379"/>
                      <a:pt x="1374980" y="1821595"/>
                      <a:pt x="1452952" y="1774290"/>
                    </a:cubicBezTo>
                    <a:cubicBezTo>
                      <a:pt x="1536494" y="1721420"/>
                      <a:pt x="1617251" y="1662984"/>
                      <a:pt x="1681299" y="1585069"/>
                    </a:cubicBezTo>
                    <a:cubicBezTo>
                      <a:pt x="1845598" y="1387500"/>
                      <a:pt x="1909646" y="1162105"/>
                      <a:pt x="1856737" y="911665"/>
                    </a:cubicBezTo>
                    <a:cubicBezTo>
                      <a:pt x="1817751" y="719662"/>
                      <a:pt x="1714716" y="561050"/>
                      <a:pt x="1553202" y="435830"/>
                    </a:cubicBezTo>
                    <a:cubicBezTo>
                      <a:pt x="1425105" y="337046"/>
                      <a:pt x="1269161" y="281392"/>
                      <a:pt x="1110780" y="273044"/>
                    </a:cubicBezTo>
                    <a:close/>
                    <a:moveTo>
                      <a:pt x="1076913" y="23"/>
                    </a:moveTo>
                    <a:cubicBezTo>
                      <a:pt x="1257473" y="1198"/>
                      <a:pt x="1430206" y="48189"/>
                      <a:pt x="1595110" y="142172"/>
                    </a:cubicBezTo>
                    <a:cubicBezTo>
                      <a:pt x="1798284" y="256343"/>
                      <a:pt x="1945794" y="415068"/>
                      <a:pt x="2043206" y="629487"/>
                    </a:cubicBezTo>
                    <a:cubicBezTo>
                      <a:pt x="2110003" y="774289"/>
                      <a:pt x="2146184" y="921876"/>
                      <a:pt x="2143401" y="1033262"/>
                    </a:cubicBezTo>
                    <a:cubicBezTo>
                      <a:pt x="2143401" y="1386914"/>
                      <a:pt x="2029290" y="1640318"/>
                      <a:pt x="1812200" y="1851952"/>
                    </a:cubicBezTo>
                    <a:cubicBezTo>
                      <a:pt x="1762102" y="1899291"/>
                      <a:pt x="1709222" y="1952200"/>
                      <a:pt x="1645208" y="1982831"/>
                    </a:cubicBezTo>
                    <a:cubicBezTo>
                      <a:pt x="1609026" y="1999539"/>
                      <a:pt x="1606243" y="2019031"/>
                      <a:pt x="1606243" y="2052447"/>
                    </a:cubicBezTo>
                    <a:cubicBezTo>
                      <a:pt x="1603460" y="2138772"/>
                      <a:pt x="1611810" y="2225096"/>
                      <a:pt x="1583978" y="2308636"/>
                    </a:cubicBezTo>
                    <a:cubicBezTo>
                      <a:pt x="1519964" y="2514701"/>
                      <a:pt x="1308441" y="2681780"/>
                      <a:pt x="1080218" y="2678995"/>
                    </a:cubicBezTo>
                    <a:cubicBezTo>
                      <a:pt x="863129" y="2676211"/>
                      <a:pt x="707269" y="2578748"/>
                      <a:pt x="595941" y="2403314"/>
                    </a:cubicBezTo>
                    <a:cubicBezTo>
                      <a:pt x="548627" y="2325344"/>
                      <a:pt x="523578" y="2233450"/>
                      <a:pt x="537494" y="2141556"/>
                    </a:cubicBezTo>
                    <a:cubicBezTo>
                      <a:pt x="554193" y="2046878"/>
                      <a:pt x="518012" y="1988400"/>
                      <a:pt x="437299" y="1932707"/>
                    </a:cubicBezTo>
                    <a:cubicBezTo>
                      <a:pt x="195160" y="1768412"/>
                      <a:pt x="58783" y="1534501"/>
                      <a:pt x="14252" y="1244896"/>
                    </a:cubicBezTo>
                    <a:cubicBezTo>
                      <a:pt x="-30279" y="946938"/>
                      <a:pt x="28168" y="671257"/>
                      <a:pt x="209076" y="428991"/>
                    </a:cubicBezTo>
                    <a:cubicBezTo>
                      <a:pt x="378852" y="200649"/>
                      <a:pt x="609857" y="58632"/>
                      <a:pt x="893744" y="14077"/>
                    </a:cubicBezTo>
                    <a:cubicBezTo>
                      <a:pt x="955670" y="4331"/>
                      <a:pt x="1016726" y="-368"/>
                      <a:pt x="1076913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8"/>
              <p:cNvSpPr>
                <a:spLocks/>
              </p:cNvSpPr>
              <p:nvPr/>
            </p:nvSpPr>
            <p:spPr bwMode="auto">
              <a:xfrm>
                <a:off x="-953246" y="4867433"/>
                <a:ext cx="300159" cy="136683"/>
              </a:xfrm>
              <a:custGeom>
                <a:avLst/>
                <a:gdLst>
                  <a:gd name="T0" fmla="*/ 221 w 441"/>
                  <a:gd name="T1" fmla="*/ 86 h 201"/>
                  <a:gd name="T2" fmla="*/ 148 w 441"/>
                  <a:gd name="T3" fmla="*/ 181 h 201"/>
                  <a:gd name="T4" fmla="*/ 103 w 441"/>
                  <a:gd name="T5" fmla="*/ 182 h 201"/>
                  <a:gd name="T6" fmla="*/ 10 w 441"/>
                  <a:gd name="T7" fmla="*/ 61 h 201"/>
                  <a:gd name="T8" fmla="*/ 16 w 441"/>
                  <a:gd name="T9" fmla="*/ 18 h 201"/>
                  <a:gd name="T10" fmla="*/ 51 w 441"/>
                  <a:gd name="T11" fmla="*/ 29 h 201"/>
                  <a:gd name="T12" fmla="*/ 124 w 441"/>
                  <a:gd name="T13" fmla="*/ 125 h 201"/>
                  <a:gd name="T14" fmla="*/ 187 w 441"/>
                  <a:gd name="T15" fmla="*/ 43 h 201"/>
                  <a:gd name="T16" fmla="*/ 254 w 441"/>
                  <a:gd name="T17" fmla="*/ 44 h 201"/>
                  <a:gd name="T18" fmla="*/ 304 w 441"/>
                  <a:gd name="T19" fmla="*/ 111 h 201"/>
                  <a:gd name="T20" fmla="*/ 330 w 441"/>
                  <a:gd name="T21" fmla="*/ 111 h 201"/>
                  <a:gd name="T22" fmla="*/ 390 w 441"/>
                  <a:gd name="T23" fmla="*/ 30 h 201"/>
                  <a:gd name="T24" fmla="*/ 428 w 441"/>
                  <a:gd name="T25" fmla="*/ 20 h 201"/>
                  <a:gd name="T26" fmla="*/ 430 w 441"/>
                  <a:gd name="T27" fmla="*/ 63 h 201"/>
                  <a:gd name="T28" fmla="*/ 381 w 441"/>
                  <a:gd name="T29" fmla="*/ 128 h 201"/>
                  <a:gd name="T30" fmla="*/ 339 w 441"/>
                  <a:gd name="T31" fmla="*/ 183 h 201"/>
                  <a:gd name="T32" fmla="*/ 296 w 441"/>
                  <a:gd name="T33" fmla="*/ 184 h 201"/>
                  <a:gd name="T34" fmla="*/ 221 w 441"/>
                  <a:gd name="T35" fmla="*/ 8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1" h="201">
                    <a:moveTo>
                      <a:pt x="221" y="86"/>
                    </a:moveTo>
                    <a:cubicBezTo>
                      <a:pt x="195" y="119"/>
                      <a:pt x="172" y="151"/>
                      <a:pt x="148" y="181"/>
                    </a:cubicBezTo>
                    <a:cubicBezTo>
                      <a:pt x="133" y="201"/>
                      <a:pt x="118" y="201"/>
                      <a:pt x="103" y="182"/>
                    </a:cubicBezTo>
                    <a:cubicBezTo>
                      <a:pt x="71" y="142"/>
                      <a:pt x="41" y="102"/>
                      <a:pt x="10" y="61"/>
                    </a:cubicBezTo>
                    <a:cubicBezTo>
                      <a:pt x="0" y="48"/>
                      <a:pt x="3" y="25"/>
                      <a:pt x="16" y="18"/>
                    </a:cubicBezTo>
                    <a:cubicBezTo>
                      <a:pt x="31" y="9"/>
                      <a:pt x="41" y="16"/>
                      <a:pt x="51" y="29"/>
                    </a:cubicBezTo>
                    <a:cubicBezTo>
                      <a:pt x="74" y="61"/>
                      <a:pt x="99" y="92"/>
                      <a:pt x="124" y="125"/>
                    </a:cubicBezTo>
                    <a:cubicBezTo>
                      <a:pt x="149" y="100"/>
                      <a:pt x="169" y="71"/>
                      <a:pt x="187" y="43"/>
                    </a:cubicBezTo>
                    <a:cubicBezTo>
                      <a:pt x="217" y="0"/>
                      <a:pt x="231" y="9"/>
                      <a:pt x="254" y="44"/>
                    </a:cubicBezTo>
                    <a:cubicBezTo>
                      <a:pt x="270" y="67"/>
                      <a:pt x="288" y="88"/>
                      <a:pt x="304" y="111"/>
                    </a:cubicBezTo>
                    <a:cubicBezTo>
                      <a:pt x="313" y="123"/>
                      <a:pt x="321" y="123"/>
                      <a:pt x="330" y="111"/>
                    </a:cubicBezTo>
                    <a:cubicBezTo>
                      <a:pt x="350" y="84"/>
                      <a:pt x="370" y="57"/>
                      <a:pt x="390" y="30"/>
                    </a:cubicBezTo>
                    <a:cubicBezTo>
                      <a:pt x="403" y="13"/>
                      <a:pt x="415" y="10"/>
                      <a:pt x="428" y="20"/>
                    </a:cubicBezTo>
                    <a:cubicBezTo>
                      <a:pt x="439" y="29"/>
                      <a:pt x="441" y="49"/>
                      <a:pt x="430" y="63"/>
                    </a:cubicBezTo>
                    <a:cubicBezTo>
                      <a:pt x="414" y="85"/>
                      <a:pt x="397" y="106"/>
                      <a:pt x="381" y="128"/>
                    </a:cubicBezTo>
                    <a:cubicBezTo>
                      <a:pt x="367" y="147"/>
                      <a:pt x="353" y="165"/>
                      <a:pt x="339" y="183"/>
                    </a:cubicBezTo>
                    <a:cubicBezTo>
                      <a:pt x="325" y="200"/>
                      <a:pt x="309" y="200"/>
                      <a:pt x="296" y="184"/>
                    </a:cubicBezTo>
                    <a:cubicBezTo>
                      <a:pt x="271" y="152"/>
                      <a:pt x="247" y="120"/>
                      <a:pt x="221" y="8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-1366712" y="4381006"/>
              <a:ext cx="344653" cy="393469"/>
              <a:chOff x="-1366712" y="4381006"/>
              <a:chExt cx="344653" cy="393469"/>
            </a:xfrm>
            <a:grpFill/>
          </p:grpSpPr>
          <p:sp>
            <p:nvSpPr>
              <p:cNvPr id="12" name="Rectangle: Rounded Corners 11"/>
              <p:cNvSpPr/>
              <p:nvPr/>
            </p:nvSpPr>
            <p:spPr>
              <a:xfrm rot="1712736">
                <a:off x="-1366712" y="4688492"/>
                <a:ext cx="279686" cy="8598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rtlCol="0" anchor="ctr">
                <a:noAutofit/>
              </a:bodyPr>
              <a:lstStyle/>
              <a:p>
                <a:pPr algn="ctr"/>
                <a:endParaRPr lang="en-US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ectangle: Rounded Corners 42"/>
              <p:cNvSpPr/>
              <p:nvPr/>
            </p:nvSpPr>
            <p:spPr>
              <a:xfrm rot="3297118">
                <a:off x="-1204893" y="4477857"/>
                <a:ext cx="279686" cy="8598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rtlCol="0" anchor="ctr">
                <a:noAutofit/>
              </a:bodyPr>
              <a:lstStyle/>
              <a:p>
                <a:pPr algn="ctr"/>
                <a:endParaRPr lang="en-US" sz="20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4" name="Rectangle: Rounded Corners 43"/>
            <p:cNvSpPr/>
            <p:nvPr/>
          </p:nvSpPr>
          <p:spPr>
            <a:xfrm rot="5400000">
              <a:off x="-939603" y="4378628"/>
              <a:ext cx="279686" cy="8598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 flipH="1">
              <a:off x="-577462" y="4381006"/>
              <a:ext cx="344653" cy="393469"/>
              <a:chOff x="-1366712" y="4381006"/>
              <a:chExt cx="344653" cy="393469"/>
            </a:xfrm>
            <a:grpFill/>
          </p:grpSpPr>
          <p:sp>
            <p:nvSpPr>
              <p:cNvPr id="49" name="Rectangle: Rounded Corners 48"/>
              <p:cNvSpPr/>
              <p:nvPr/>
            </p:nvSpPr>
            <p:spPr>
              <a:xfrm rot="1712736">
                <a:off x="-1366712" y="4688492"/>
                <a:ext cx="279686" cy="8598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rtlCol="0" anchor="ctr">
                <a:noAutofit/>
              </a:bodyPr>
              <a:lstStyle/>
              <a:p>
                <a:pPr algn="ctr"/>
                <a:endParaRPr lang="en-US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Rectangle: Rounded Corners 49"/>
              <p:cNvSpPr/>
              <p:nvPr/>
            </p:nvSpPr>
            <p:spPr>
              <a:xfrm rot="3297118">
                <a:off x="-1204893" y="4477857"/>
                <a:ext cx="279686" cy="8598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rtlCol="0" anchor="ctr">
                <a:noAutofit/>
              </a:bodyPr>
              <a:lstStyle/>
              <a:p>
                <a:pPr algn="ctr"/>
                <a:endParaRPr lang="en-US" sz="20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51" name="Freeform 144"/>
          <p:cNvSpPr/>
          <p:nvPr/>
        </p:nvSpPr>
        <p:spPr bwMode="auto">
          <a:xfrm rot="19059247">
            <a:off x="410124" y="5912375"/>
            <a:ext cx="263485" cy="164131"/>
          </a:xfrm>
          <a:custGeom>
            <a:avLst/>
            <a:gdLst>
              <a:gd name="connsiteX0" fmla="*/ 768587 w 780839"/>
              <a:gd name="connsiteY0" fmla="*/ 317707 h 486404"/>
              <a:gd name="connsiteX1" fmla="*/ 780838 w 780839"/>
              <a:gd name="connsiteY1" fmla="*/ 347284 h 486404"/>
              <a:gd name="connsiteX2" fmla="*/ 780839 w 780839"/>
              <a:gd name="connsiteY2" fmla="*/ 444403 h 486404"/>
              <a:gd name="connsiteX3" fmla="*/ 739010 w 780839"/>
              <a:gd name="connsiteY3" fmla="*/ 486231 h 486404"/>
              <a:gd name="connsiteX4" fmla="*/ 128678 w 780839"/>
              <a:gd name="connsiteY4" fmla="*/ 486231 h 486404"/>
              <a:gd name="connsiteX5" fmla="*/ 128251 w 780839"/>
              <a:gd name="connsiteY5" fmla="*/ 486404 h 486404"/>
              <a:gd name="connsiteX6" fmla="*/ 107906 w 780839"/>
              <a:gd name="connsiteY6" fmla="*/ 486231 h 486404"/>
              <a:gd name="connsiteX7" fmla="*/ 42396 w 780839"/>
              <a:gd name="connsiteY7" fmla="*/ 486231 h 486404"/>
              <a:gd name="connsiteX8" fmla="*/ 12819 w 780839"/>
              <a:gd name="connsiteY8" fmla="*/ 473980 h 486404"/>
              <a:gd name="connsiteX9" fmla="*/ 5076 w 780839"/>
              <a:gd name="connsiteY9" fmla="*/ 455286 h 486404"/>
              <a:gd name="connsiteX10" fmla="*/ 3921 w 780839"/>
              <a:gd name="connsiteY10" fmla="*/ 453542 h 486404"/>
              <a:gd name="connsiteX11" fmla="*/ 3544 w 780839"/>
              <a:gd name="connsiteY11" fmla="*/ 451587 h 486404"/>
              <a:gd name="connsiteX12" fmla="*/ 568 w 780839"/>
              <a:gd name="connsiteY12" fmla="*/ 444403 h 486404"/>
              <a:gd name="connsiteX13" fmla="*/ 568 w 780839"/>
              <a:gd name="connsiteY13" fmla="*/ 436176 h 486404"/>
              <a:gd name="connsiteX14" fmla="*/ 0 w 780839"/>
              <a:gd name="connsiteY14" fmla="*/ 433237 h 486404"/>
              <a:gd name="connsiteX15" fmla="*/ 568 w 780839"/>
              <a:gd name="connsiteY15" fmla="*/ 366357 h 486404"/>
              <a:gd name="connsiteX16" fmla="*/ 568 w 780839"/>
              <a:gd name="connsiteY16" fmla="*/ 347284 h 486404"/>
              <a:gd name="connsiteX17" fmla="*/ 732 w 780839"/>
              <a:gd name="connsiteY17" fmla="*/ 346885 h 486404"/>
              <a:gd name="connsiteX18" fmla="*/ 3237 w 780839"/>
              <a:gd name="connsiteY18" fmla="*/ 51636 h 486404"/>
              <a:gd name="connsiteX19" fmla="*/ 55754 w 780839"/>
              <a:gd name="connsiteY19" fmla="*/ 1 h 486404"/>
              <a:gd name="connsiteX20" fmla="*/ 132371 w 780839"/>
              <a:gd name="connsiteY20" fmla="*/ 651 h 486404"/>
              <a:gd name="connsiteX21" fmla="*/ 184005 w 780839"/>
              <a:gd name="connsiteY21" fmla="*/ 53168 h 486404"/>
              <a:gd name="connsiteX22" fmla="*/ 181866 w 780839"/>
              <a:gd name="connsiteY22" fmla="*/ 305456 h 486404"/>
              <a:gd name="connsiteX23" fmla="*/ 739010 w 780839"/>
              <a:gd name="connsiteY23" fmla="*/ 305456 h 486404"/>
              <a:gd name="connsiteX24" fmla="*/ 768587 w 780839"/>
              <a:gd name="connsiteY24" fmla="*/ 317707 h 486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80839" h="486404">
                <a:moveTo>
                  <a:pt x="768587" y="317707"/>
                </a:moveTo>
                <a:cubicBezTo>
                  <a:pt x="776156" y="325276"/>
                  <a:pt x="780838" y="335733"/>
                  <a:pt x="780838" y="347284"/>
                </a:cubicBezTo>
                <a:lnTo>
                  <a:pt x="780839" y="444403"/>
                </a:lnTo>
                <a:cubicBezTo>
                  <a:pt x="780838" y="467504"/>
                  <a:pt x="762111" y="486231"/>
                  <a:pt x="739010" y="486231"/>
                </a:cubicBezTo>
                <a:lnTo>
                  <a:pt x="128678" y="486231"/>
                </a:lnTo>
                <a:lnTo>
                  <a:pt x="128251" y="486404"/>
                </a:lnTo>
                <a:lnTo>
                  <a:pt x="107906" y="486231"/>
                </a:lnTo>
                <a:lnTo>
                  <a:pt x="42396" y="486231"/>
                </a:lnTo>
                <a:cubicBezTo>
                  <a:pt x="30846" y="486231"/>
                  <a:pt x="20389" y="481550"/>
                  <a:pt x="12819" y="473980"/>
                </a:cubicBezTo>
                <a:lnTo>
                  <a:pt x="5076" y="455286"/>
                </a:lnTo>
                <a:lnTo>
                  <a:pt x="3921" y="453542"/>
                </a:lnTo>
                <a:lnTo>
                  <a:pt x="3544" y="451587"/>
                </a:lnTo>
                <a:lnTo>
                  <a:pt x="568" y="444403"/>
                </a:lnTo>
                <a:lnTo>
                  <a:pt x="568" y="436176"/>
                </a:lnTo>
                <a:lnTo>
                  <a:pt x="0" y="433237"/>
                </a:lnTo>
                <a:lnTo>
                  <a:pt x="568" y="366357"/>
                </a:lnTo>
                <a:lnTo>
                  <a:pt x="568" y="347284"/>
                </a:lnTo>
                <a:lnTo>
                  <a:pt x="732" y="346885"/>
                </a:lnTo>
                <a:lnTo>
                  <a:pt x="3237" y="51636"/>
                </a:lnTo>
                <a:cubicBezTo>
                  <a:pt x="3480" y="22874"/>
                  <a:pt x="26993" y="-243"/>
                  <a:pt x="55754" y="1"/>
                </a:cubicBezTo>
                <a:lnTo>
                  <a:pt x="132371" y="651"/>
                </a:lnTo>
                <a:cubicBezTo>
                  <a:pt x="161132" y="894"/>
                  <a:pt x="184249" y="24407"/>
                  <a:pt x="184005" y="53168"/>
                </a:cubicBezTo>
                <a:lnTo>
                  <a:pt x="181866" y="305456"/>
                </a:lnTo>
                <a:lnTo>
                  <a:pt x="739010" y="305456"/>
                </a:lnTo>
                <a:cubicBezTo>
                  <a:pt x="750560" y="305456"/>
                  <a:pt x="761017" y="310137"/>
                  <a:pt x="768587" y="317707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Donut 146"/>
          <p:cNvSpPr/>
          <p:nvPr/>
        </p:nvSpPr>
        <p:spPr>
          <a:xfrm>
            <a:off x="1970431" y="5876301"/>
            <a:ext cx="271123" cy="271123"/>
          </a:xfrm>
          <a:custGeom>
            <a:avLst/>
            <a:gdLst/>
            <a:ahLst/>
            <a:cxnLst/>
            <a:rect l="l" t="t" r="r" b="b"/>
            <a:pathLst>
              <a:path w="1519234" h="1519232">
                <a:moveTo>
                  <a:pt x="749584" y="1231897"/>
                </a:moveTo>
                <a:lnTo>
                  <a:pt x="752795" y="1231897"/>
                </a:lnTo>
                <a:lnTo>
                  <a:pt x="757611" y="1231897"/>
                </a:lnTo>
                <a:lnTo>
                  <a:pt x="762427" y="1231897"/>
                </a:lnTo>
                <a:lnTo>
                  <a:pt x="764835" y="1231897"/>
                </a:lnTo>
                <a:lnTo>
                  <a:pt x="769651" y="1233476"/>
                </a:lnTo>
                <a:lnTo>
                  <a:pt x="772861" y="1235055"/>
                </a:lnTo>
                <a:lnTo>
                  <a:pt x="776072" y="1236633"/>
                </a:lnTo>
                <a:lnTo>
                  <a:pt x="781691" y="1239791"/>
                </a:lnTo>
                <a:lnTo>
                  <a:pt x="786507" y="1244527"/>
                </a:lnTo>
                <a:lnTo>
                  <a:pt x="789718" y="1246895"/>
                </a:lnTo>
                <a:lnTo>
                  <a:pt x="792928" y="1250053"/>
                </a:lnTo>
                <a:lnTo>
                  <a:pt x="794534" y="1253210"/>
                </a:lnTo>
                <a:lnTo>
                  <a:pt x="795336" y="1254789"/>
                </a:lnTo>
                <a:lnTo>
                  <a:pt x="794534" y="1356617"/>
                </a:lnTo>
                <a:lnTo>
                  <a:pt x="789718" y="1359774"/>
                </a:lnTo>
                <a:lnTo>
                  <a:pt x="786507" y="1362932"/>
                </a:lnTo>
                <a:lnTo>
                  <a:pt x="781691" y="1366089"/>
                </a:lnTo>
                <a:lnTo>
                  <a:pt x="779283" y="1368457"/>
                </a:lnTo>
                <a:lnTo>
                  <a:pt x="774467" y="1370036"/>
                </a:lnTo>
                <a:lnTo>
                  <a:pt x="771256" y="1371615"/>
                </a:lnTo>
                <a:lnTo>
                  <a:pt x="768045" y="1373194"/>
                </a:lnTo>
                <a:lnTo>
                  <a:pt x="764835" y="1374772"/>
                </a:lnTo>
                <a:lnTo>
                  <a:pt x="757611" y="1374772"/>
                </a:lnTo>
                <a:lnTo>
                  <a:pt x="752795" y="1374772"/>
                </a:lnTo>
                <a:lnTo>
                  <a:pt x="747176" y="1373194"/>
                </a:lnTo>
                <a:lnTo>
                  <a:pt x="743965" y="1371615"/>
                </a:lnTo>
                <a:lnTo>
                  <a:pt x="737544" y="1368457"/>
                </a:lnTo>
                <a:lnTo>
                  <a:pt x="734333" y="1366879"/>
                </a:lnTo>
                <a:lnTo>
                  <a:pt x="730320" y="1364510"/>
                </a:lnTo>
                <a:lnTo>
                  <a:pt x="728714" y="1361353"/>
                </a:lnTo>
                <a:lnTo>
                  <a:pt x="725504" y="1356617"/>
                </a:lnTo>
                <a:lnTo>
                  <a:pt x="723898" y="1355038"/>
                </a:lnTo>
                <a:lnTo>
                  <a:pt x="723898" y="1254789"/>
                </a:lnTo>
                <a:lnTo>
                  <a:pt x="727109" y="1251631"/>
                </a:lnTo>
                <a:lnTo>
                  <a:pt x="730320" y="1245316"/>
                </a:lnTo>
                <a:lnTo>
                  <a:pt x="734333" y="1242948"/>
                </a:lnTo>
                <a:lnTo>
                  <a:pt x="739149" y="1236633"/>
                </a:lnTo>
                <a:lnTo>
                  <a:pt x="747176" y="1233476"/>
                </a:lnTo>
                <a:close/>
                <a:moveTo>
                  <a:pt x="995175" y="1155697"/>
                </a:moveTo>
                <a:lnTo>
                  <a:pt x="999904" y="1155697"/>
                </a:lnTo>
                <a:lnTo>
                  <a:pt x="1003057" y="1155697"/>
                </a:lnTo>
                <a:lnTo>
                  <a:pt x="1007787" y="1155697"/>
                </a:lnTo>
                <a:lnTo>
                  <a:pt x="1010152" y="1155697"/>
                </a:lnTo>
                <a:lnTo>
                  <a:pt x="1016458" y="1155697"/>
                </a:lnTo>
                <a:lnTo>
                  <a:pt x="1021188" y="1155697"/>
                </a:lnTo>
                <a:lnTo>
                  <a:pt x="1026706" y="1158872"/>
                </a:lnTo>
                <a:lnTo>
                  <a:pt x="1082673" y="1247772"/>
                </a:lnTo>
                <a:lnTo>
                  <a:pt x="1081097" y="1247772"/>
                </a:lnTo>
                <a:lnTo>
                  <a:pt x="1081097" y="1250947"/>
                </a:lnTo>
                <a:lnTo>
                  <a:pt x="1081097" y="1254122"/>
                </a:lnTo>
                <a:lnTo>
                  <a:pt x="1079520" y="1259678"/>
                </a:lnTo>
                <a:lnTo>
                  <a:pt x="1076367" y="1266028"/>
                </a:lnTo>
                <a:lnTo>
                  <a:pt x="1074790" y="1272378"/>
                </a:lnTo>
                <a:lnTo>
                  <a:pt x="1070849" y="1276347"/>
                </a:lnTo>
                <a:lnTo>
                  <a:pt x="1064543" y="1284285"/>
                </a:lnTo>
                <a:lnTo>
                  <a:pt x="1061390" y="1284285"/>
                </a:lnTo>
                <a:lnTo>
                  <a:pt x="1056660" y="1287460"/>
                </a:lnTo>
                <a:lnTo>
                  <a:pt x="1054295" y="1287460"/>
                </a:lnTo>
                <a:lnTo>
                  <a:pt x="1051142" y="1289047"/>
                </a:lnTo>
                <a:lnTo>
                  <a:pt x="1046413" y="1289047"/>
                </a:lnTo>
                <a:lnTo>
                  <a:pt x="1043259" y="1289047"/>
                </a:lnTo>
                <a:lnTo>
                  <a:pt x="1039318" y="1287460"/>
                </a:lnTo>
                <a:lnTo>
                  <a:pt x="1036165" y="1287460"/>
                </a:lnTo>
                <a:lnTo>
                  <a:pt x="1029859" y="1284285"/>
                </a:lnTo>
                <a:lnTo>
                  <a:pt x="1025129" y="1282697"/>
                </a:lnTo>
                <a:lnTo>
                  <a:pt x="1022764" y="1281110"/>
                </a:lnTo>
                <a:lnTo>
                  <a:pt x="1021188" y="1281110"/>
                </a:lnTo>
                <a:lnTo>
                  <a:pt x="969950" y="1196972"/>
                </a:lnTo>
                <a:lnTo>
                  <a:pt x="968373" y="1195385"/>
                </a:lnTo>
                <a:lnTo>
                  <a:pt x="968373" y="1193797"/>
                </a:lnTo>
                <a:lnTo>
                  <a:pt x="968373" y="1190622"/>
                </a:lnTo>
                <a:lnTo>
                  <a:pt x="969950" y="1187447"/>
                </a:lnTo>
                <a:lnTo>
                  <a:pt x="969950" y="1182685"/>
                </a:lnTo>
                <a:lnTo>
                  <a:pt x="971526" y="1180303"/>
                </a:lnTo>
                <a:lnTo>
                  <a:pt x="973103" y="1175541"/>
                </a:lnTo>
                <a:lnTo>
                  <a:pt x="976256" y="1172366"/>
                </a:lnTo>
                <a:lnTo>
                  <a:pt x="978621" y="1167603"/>
                </a:lnTo>
                <a:lnTo>
                  <a:pt x="981774" y="1163635"/>
                </a:lnTo>
                <a:lnTo>
                  <a:pt x="986504" y="1160460"/>
                </a:lnTo>
                <a:lnTo>
                  <a:pt x="992810" y="1157285"/>
                </a:lnTo>
                <a:close/>
                <a:moveTo>
                  <a:pt x="517118" y="1155697"/>
                </a:moveTo>
                <a:lnTo>
                  <a:pt x="523423" y="1155697"/>
                </a:lnTo>
                <a:lnTo>
                  <a:pt x="526575" y="1155697"/>
                </a:lnTo>
                <a:lnTo>
                  <a:pt x="532092" y="1155697"/>
                </a:lnTo>
                <a:lnTo>
                  <a:pt x="535245" y="1155697"/>
                </a:lnTo>
                <a:lnTo>
                  <a:pt x="539973" y="1155697"/>
                </a:lnTo>
                <a:lnTo>
                  <a:pt x="543126" y="1155697"/>
                </a:lnTo>
                <a:lnTo>
                  <a:pt x="546278" y="1157285"/>
                </a:lnTo>
                <a:lnTo>
                  <a:pt x="551795" y="1160460"/>
                </a:lnTo>
                <a:lnTo>
                  <a:pt x="556524" y="1163635"/>
                </a:lnTo>
                <a:lnTo>
                  <a:pt x="561253" y="1167603"/>
                </a:lnTo>
                <a:lnTo>
                  <a:pt x="563617" y="1172366"/>
                </a:lnTo>
                <a:lnTo>
                  <a:pt x="565193" y="1175541"/>
                </a:lnTo>
                <a:lnTo>
                  <a:pt x="568346" y="1180303"/>
                </a:lnTo>
                <a:lnTo>
                  <a:pt x="568346" y="1182685"/>
                </a:lnTo>
                <a:lnTo>
                  <a:pt x="569922" y="1187447"/>
                </a:lnTo>
                <a:lnTo>
                  <a:pt x="569922" y="1190622"/>
                </a:lnTo>
                <a:lnTo>
                  <a:pt x="569922" y="1193797"/>
                </a:lnTo>
                <a:lnTo>
                  <a:pt x="569922" y="1195385"/>
                </a:lnTo>
                <a:lnTo>
                  <a:pt x="571498" y="1196972"/>
                </a:lnTo>
                <a:lnTo>
                  <a:pt x="518694" y="1281110"/>
                </a:lnTo>
                <a:lnTo>
                  <a:pt x="517118" y="1281110"/>
                </a:lnTo>
                <a:lnTo>
                  <a:pt x="514754" y="1282697"/>
                </a:lnTo>
                <a:lnTo>
                  <a:pt x="510025" y="1284285"/>
                </a:lnTo>
                <a:lnTo>
                  <a:pt x="503720" y="1287460"/>
                </a:lnTo>
                <a:lnTo>
                  <a:pt x="501356" y="1287460"/>
                </a:lnTo>
                <a:lnTo>
                  <a:pt x="496627" y="1289047"/>
                </a:lnTo>
                <a:lnTo>
                  <a:pt x="493474" y="1289047"/>
                </a:lnTo>
                <a:lnTo>
                  <a:pt x="490322" y="1289047"/>
                </a:lnTo>
                <a:lnTo>
                  <a:pt x="486381" y="1287460"/>
                </a:lnTo>
                <a:lnTo>
                  <a:pt x="483229" y="1287460"/>
                </a:lnTo>
                <a:lnTo>
                  <a:pt x="480076" y="1284285"/>
                </a:lnTo>
                <a:lnTo>
                  <a:pt x="476924" y="1284285"/>
                </a:lnTo>
                <a:lnTo>
                  <a:pt x="470619" y="1276347"/>
                </a:lnTo>
                <a:lnTo>
                  <a:pt x="466678" y="1272378"/>
                </a:lnTo>
                <a:lnTo>
                  <a:pt x="463526" y="1266028"/>
                </a:lnTo>
                <a:lnTo>
                  <a:pt x="461949" y="1259678"/>
                </a:lnTo>
                <a:lnTo>
                  <a:pt x="460373" y="1254122"/>
                </a:lnTo>
                <a:lnTo>
                  <a:pt x="460373" y="1250947"/>
                </a:lnTo>
                <a:lnTo>
                  <a:pt x="460373" y="1247772"/>
                </a:lnTo>
                <a:lnTo>
                  <a:pt x="513177" y="1158872"/>
                </a:lnTo>
                <a:close/>
                <a:moveTo>
                  <a:pt x="1192210" y="971547"/>
                </a:moveTo>
                <a:lnTo>
                  <a:pt x="1197767" y="971547"/>
                </a:lnTo>
                <a:lnTo>
                  <a:pt x="1281111" y="1031456"/>
                </a:lnTo>
                <a:lnTo>
                  <a:pt x="1282698" y="1036186"/>
                </a:lnTo>
                <a:lnTo>
                  <a:pt x="1284286" y="1039339"/>
                </a:lnTo>
                <a:lnTo>
                  <a:pt x="1285873" y="1044857"/>
                </a:lnTo>
                <a:lnTo>
                  <a:pt x="1285873" y="1046433"/>
                </a:lnTo>
                <a:lnTo>
                  <a:pt x="1285873" y="1051163"/>
                </a:lnTo>
                <a:lnTo>
                  <a:pt x="1285873" y="1054316"/>
                </a:lnTo>
                <a:lnTo>
                  <a:pt x="1285873" y="1057469"/>
                </a:lnTo>
                <a:lnTo>
                  <a:pt x="1284286" y="1061411"/>
                </a:lnTo>
                <a:lnTo>
                  <a:pt x="1282698" y="1064564"/>
                </a:lnTo>
                <a:lnTo>
                  <a:pt x="1281111" y="1067717"/>
                </a:lnTo>
                <a:lnTo>
                  <a:pt x="1281111" y="1072447"/>
                </a:lnTo>
                <a:lnTo>
                  <a:pt x="1277936" y="1074811"/>
                </a:lnTo>
                <a:lnTo>
                  <a:pt x="1274761" y="1077964"/>
                </a:lnTo>
                <a:lnTo>
                  <a:pt x="1271586" y="1079541"/>
                </a:lnTo>
                <a:lnTo>
                  <a:pt x="1269204" y="1081118"/>
                </a:lnTo>
                <a:lnTo>
                  <a:pt x="1266029" y="1082694"/>
                </a:lnTo>
                <a:lnTo>
                  <a:pt x="1262854" y="1084271"/>
                </a:lnTo>
                <a:lnTo>
                  <a:pt x="1258092" y="1084271"/>
                </a:lnTo>
                <a:lnTo>
                  <a:pt x="1255711" y="1085847"/>
                </a:lnTo>
                <a:lnTo>
                  <a:pt x="1252536" y="1085847"/>
                </a:lnTo>
                <a:lnTo>
                  <a:pt x="1247773" y="1085847"/>
                </a:lnTo>
                <a:lnTo>
                  <a:pt x="1244598" y="1085847"/>
                </a:lnTo>
                <a:lnTo>
                  <a:pt x="1243011" y="1085847"/>
                </a:lnTo>
                <a:lnTo>
                  <a:pt x="1240629" y="1085847"/>
                </a:lnTo>
                <a:lnTo>
                  <a:pt x="1239042" y="1085847"/>
                </a:lnTo>
                <a:lnTo>
                  <a:pt x="1158873" y="1029091"/>
                </a:lnTo>
                <a:lnTo>
                  <a:pt x="1157285" y="1027515"/>
                </a:lnTo>
                <a:lnTo>
                  <a:pt x="1157285" y="1025938"/>
                </a:lnTo>
                <a:lnTo>
                  <a:pt x="1155698" y="1022785"/>
                </a:lnTo>
                <a:lnTo>
                  <a:pt x="1155698" y="1019632"/>
                </a:lnTo>
                <a:lnTo>
                  <a:pt x="1154110" y="1016479"/>
                </a:lnTo>
                <a:lnTo>
                  <a:pt x="1154110" y="1012538"/>
                </a:lnTo>
                <a:lnTo>
                  <a:pt x="1154110" y="1007808"/>
                </a:lnTo>
                <a:lnTo>
                  <a:pt x="1155698" y="1003078"/>
                </a:lnTo>
                <a:lnTo>
                  <a:pt x="1155698" y="997560"/>
                </a:lnTo>
                <a:lnTo>
                  <a:pt x="1158873" y="992831"/>
                </a:lnTo>
                <a:lnTo>
                  <a:pt x="1162048" y="988101"/>
                </a:lnTo>
                <a:lnTo>
                  <a:pt x="1166017" y="984160"/>
                </a:lnTo>
                <a:lnTo>
                  <a:pt x="1167604" y="982583"/>
                </a:lnTo>
                <a:lnTo>
                  <a:pt x="1172367" y="981007"/>
                </a:lnTo>
                <a:lnTo>
                  <a:pt x="1175542" y="977853"/>
                </a:lnTo>
                <a:lnTo>
                  <a:pt x="1178717" y="976277"/>
                </a:lnTo>
                <a:lnTo>
                  <a:pt x="1182685" y="974700"/>
                </a:lnTo>
                <a:lnTo>
                  <a:pt x="1187448" y="973124"/>
                </a:lnTo>
                <a:close/>
                <a:moveTo>
                  <a:pt x="342104" y="971547"/>
                </a:moveTo>
                <a:lnTo>
                  <a:pt x="346866" y="971547"/>
                </a:lnTo>
                <a:lnTo>
                  <a:pt x="350835" y="973124"/>
                </a:lnTo>
                <a:lnTo>
                  <a:pt x="355598" y="974700"/>
                </a:lnTo>
                <a:lnTo>
                  <a:pt x="360360" y="976277"/>
                </a:lnTo>
                <a:lnTo>
                  <a:pt x="364329" y="977853"/>
                </a:lnTo>
                <a:lnTo>
                  <a:pt x="367504" y="981007"/>
                </a:lnTo>
                <a:lnTo>
                  <a:pt x="370679" y="982583"/>
                </a:lnTo>
                <a:lnTo>
                  <a:pt x="373854" y="984160"/>
                </a:lnTo>
                <a:lnTo>
                  <a:pt x="377029" y="988101"/>
                </a:lnTo>
                <a:lnTo>
                  <a:pt x="380998" y="992831"/>
                </a:lnTo>
                <a:lnTo>
                  <a:pt x="382585" y="997560"/>
                </a:lnTo>
                <a:lnTo>
                  <a:pt x="384173" y="1003078"/>
                </a:lnTo>
                <a:lnTo>
                  <a:pt x="384173" y="1007808"/>
                </a:lnTo>
                <a:lnTo>
                  <a:pt x="385760" y="1012538"/>
                </a:lnTo>
                <a:lnTo>
                  <a:pt x="384173" y="1016479"/>
                </a:lnTo>
                <a:lnTo>
                  <a:pt x="384173" y="1019632"/>
                </a:lnTo>
                <a:lnTo>
                  <a:pt x="382585" y="1022785"/>
                </a:lnTo>
                <a:lnTo>
                  <a:pt x="382585" y="1025938"/>
                </a:lnTo>
                <a:lnTo>
                  <a:pt x="382585" y="1027515"/>
                </a:lnTo>
                <a:lnTo>
                  <a:pt x="382585" y="1029091"/>
                </a:lnTo>
                <a:lnTo>
                  <a:pt x="302416" y="1085847"/>
                </a:lnTo>
                <a:lnTo>
                  <a:pt x="300035" y="1085847"/>
                </a:lnTo>
                <a:lnTo>
                  <a:pt x="296860" y="1085847"/>
                </a:lnTo>
                <a:lnTo>
                  <a:pt x="290510" y="1085847"/>
                </a:lnTo>
                <a:lnTo>
                  <a:pt x="285748" y="1085847"/>
                </a:lnTo>
                <a:lnTo>
                  <a:pt x="281779" y="1084271"/>
                </a:lnTo>
                <a:lnTo>
                  <a:pt x="278604" y="1084271"/>
                </a:lnTo>
                <a:lnTo>
                  <a:pt x="275429" y="1082694"/>
                </a:lnTo>
                <a:lnTo>
                  <a:pt x="272254" y="1081118"/>
                </a:lnTo>
                <a:lnTo>
                  <a:pt x="268285" y="1079541"/>
                </a:lnTo>
                <a:lnTo>
                  <a:pt x="266698" y="1077964"/>
                </a:lnTo>
                <a:lnTo>
                  <a:pt x="263523" y="1074811"/>
                </a:lnTo>
                <a:lnTo>
                  <a:pt x="261935" y="1072447"/>
                </a:lnTo>
                <a:lnTo>
                  <a:pt x="258760" y="1067717"/>
                </a:lnTo>
                <a:lnTo>
                  <a:pt x="257173" y="1064564"/>
                </a:lnTo>
                <a:lnTo>
                  <a:pt x="257173" y="1061411"/>
                </a:lnTo>
                <a:lnTo>
                  <a:pt x="255585" y="1057469"/>
                </a:lnTo>
                <a:lnTo>
                  <a:pt x="255585" y="1054316"/>
                </a:lnTo>
                <a:lnTo>
                  <a:pt x="255585" y="1051163"/>
                </a:lnTo>
                <a:lnTo>
                  <a:pt x="255585" y="1046433"/>
                </a:lnTo>
                <a:lnTo>
                  <a:pt x="255585" y="1044857"/>
                </a:lnTo>
                <a:lnTo>
                  <a:pt x="255585" y="1039339"/>
                </a:lnTo>
                <a:lnTo>
                  <a:pt x="257173" y="1036186"/>
                </a:lnTo>
                <a:lnTo>
                  <a:pt x="257173" y="1031456"/>
                </a:lnTo>
                <a:lnTo>
                  <a:pt x="258760" y="1031456"/>
                </a:lnTo>
                <a:close/>
                <a:moveTo>
                  <a:pt x="205445" y="739772"/>
                </a:moveTo>
                <a:lnTo>
                  <a:pt x="304122" y="739772"/>
                </a:lnTo>
                <a:lnTo>
                  <a:pt x="305701" y="739772"/>
                </a:lnTo>
                <a:lnTo>
                  <a:pt x="310437" y="744429"/>
                </a:lnTo>
                <a:lnTo>
                  <a:pt x="313595" y="745981"/>
                </a:lnTo>
                <a:lnTo>
                  <a:pt x="315963" y="749086"/>
                </a:lnTo>
                <a:lnTo>
                  <a:pt x="317542" y="752190"/>
                </a:lnTo>
                <a:lnTo>
                  <a:pt x="322279" y="757623"/>
                </a:lnTo>
                <a:lnTo>
                  <a:pt x="322279" y="762279"/>
                </a:lnTo>
                <a:lnTo>
                  <a:pt x="325436" y="766936"/>
                </a:lnTo>
                <a:lnTo>
                  <a:pt x="323857" y="772369"/>
                </a:lnTo>
                <a:lnTo>
                  <a:pt x="323857" y="778578"/>
                </a:lnTo>
                <a:lnTo>
                  <a:pt x="322279" y="781682"/>
                </a:lnTo>
                <a:lnTo>
                  <a:pt x="322279" y="784787"/>
                </a:lnTo>
                <a:lnTo>
                  <a:pt x="320700" y="787115"/>
                </a:lnTo>
                <a:lnTo>
                  <a:pt x="317542" y="791772"/>
                </a:lnTo>
                <a:lnTo>
                  <a:pt x="315963" y="794876"/>
                </a:lnTo>
                <a:lnTo>
                  <a:pt x="313595" y="799533"/>
                </a:lnTo>
                <a:lnTo>
                  <a:pt x="310437" y="803413"/>
                </a:lnTo>
                <a:lnTo>
                  <a:pt x="307280" y="806518"/>
                </a:lnTo>
                <a:lnTo>
                  <a:pt x="205445" y="809622"/>
                </a:lnTo>
                <a:lnTo>
                  <a:pt x="203866" y="808070"/>
                </a:lnTo>
                <a:lnTo>
                  <a:pt x="200709" y="806518"/>
                </a:lnTo>
                <a:lnTo>
                  <a:pt x="197551" y="803413"/>
                </a:lnTo>
                <a:lnTo>
                  <a:pt x="193604" y="800309"/>
                </a:lnTo>
                <a:lnTo>
                  <a:pt x="190446" y="794876"/>
                </a:lnTo>
                <a:lnTo>
                  <a:pt x="185710" y="788667"/>
                </a:lnTo>
                <a:lnTo>
                  <a:pt x="184131" y="785563"/>
                </a:lnTo>
                <a:lnTo>
                  <a:pt x="182552" y="783234"/>
                </a:lnTo>
                <a:lnTo>
                  <a:pt x="180973" y="778578"/>
                </a:lnTo>
                <a:lnTo>
                  <a:pt x="180973" y="775473"/>
                </a:lnTo>
                <a:lnTo>
                  <a:pt x="180973" y="770817"/>
                </a:lnTo>
                <a:lnTo>
                  <a:pt x="180973" y="766936"/>
                </a:lnTo>
                <a:lnTo>
                  <a:pt x="182552" y="763832"/>
                </a:lnTo>
                <a:lnTo>
                  <a:pt x="184131" y="760727"/>
                </a:lnTo>
                <a:lnTo>
                  <a:pt x="187289" y="755294"/>
                </a:lnTo>
                <a:lnTo>
                  <a:pt x="193604" y="749086"/>
                </a:lnTo>
                <a:lnTo>
                  <a:pt x="195972" y="744429"/>
                </a:lnTo>
                <a:lnTo>
                  <a:pt x="202287" y="741324"/>
                </a:lnTo>
                <a:close/>
                <a:moveTo>
                  <a:pt x="1237454" y="441322"/>
                </a:moveTo>
                <a:lnTo>
                  <a:pt x="1239042" y="441322"/>
                </a:lnTo>
                <a:lnTo>
                  <a:pt x="1241423" y="441322"/>
                </a:lnTo>
                <a:lnTo>
                  <a:pt x="1243011" y="441322"/>
                </a:lnTo>
                <a:lnTo>
                  <a:pt x="1246186" y="441322"/>
                </a:lnTo>
                <a:lnTo>
                  <a:pt x="1249361" y="441322"/>
                </a:lnTo>
                <a:lnTo>
                  <a:pt x="1254123" y="441322"/>
                </a:lnTo>
                <a:lnTo>
                  <a:pt x="1256504" y="441322"/>
                </a:lnTo>
                <a:lnTo>
                  <a:pt x="1259679" y="442910"/>
                </a:lnTo>
                <a:lnTo>
                  <a:pt x="1262854" y="442910"/>
                </a:lnTo>
                <a:lnTo>
                  <a:pt x="1267617" y="446085"/>
                </a:lnTo>
                <a:lnTo>
                  <a:pt x="1270792" y="447672"/>
                </a:lnTo>
                <a:lnTo>
                  <a:pt x="1273173" y="449260"/>
                </a:lnTo>
                <a:lnTo>
                  <a:pt x="1274761" y="453229"/>
                </a:lnTo>
                <a:lnTo>
                  <a:pt x="1277936" y="456404"/>
                </a:lnTo>
                <a:lnTo>
                  <a:pt x="1281111" y="462754"/>
                </a:lnTo>
                <a:lnTo>
                  <a:pt x="1284286" y="468310"/>
                </a:lnTo>
                <a:lnTo>
                  <a:pt x="1284286" y="473072"/>
                </a:lnTo>
                <a:lnTo>
                  <a:pt x="1284286" y="476247"/>
                </a:lnTo>
                <a:lnTo>
                  <a:pt x="1284286" y="479422"/>
                </a:lnTo>
                <a:lnTo>
                  <a:pt x="1285873" y="481804"/>
                </a:lnTo>
                <a:lnTo>
                  <a:pt x="1284286" y="488154"/>
                </a:lnTo>
                <a:lnTo>
                  <a:pt x="1282698" y="491329"/>
                </a:lnTo>
                <a:lnTo>
                  <a:pt x="1281111" y="495297"/>
                </a:lnTo>
                <a:lnTo>
                  <a:pt x="1197767" y="557210"/>
                </a:lnTo>
                <a:lnTo>
                  <a:pt x="1192210" y="556416"/>
                </a:lnTo>
                <a:lnTo>
                  <a:pt x="1187448" y="554829"/>
                </a:lnTo>
                <a:lnTo>
                  <a:pt x="1182685" y="553241"/>
                </a:lnTo>
                <a:lnTo>
                  <a:pt x="1178717" y="553241"/>
                </a:lnTo>
                <a:lnTo>
                  <a:pt x="1175542" y="550066"/>
                </a:lnTo>
                <a:lnTo>
                  <a:pt x="1172367" y="548479"/>
                </a:lnTo>
                <a:lnTo>
                  <a:pt x="1167604" y="546891"/>
                </a:lnTo>
                <a:lnTo>
                  <a:pt x="1166017" y="545304"/>
                </a:lnTo>
                <a:lnTo>
                  <a:pt x="1162048" y="541335"/>
                </a:lnTo>
                <a:lnTo>
                  <a:pt x="1158873" y="536573"/>
                </a:lnTo>
                <a:lnTo>
                  <a:pt x="1155698" y="531810"/>
                </a:lnTo>
                <a:lnTo>
                  <a:pt x="1155698" y="527048"/>
                </a:lnTo>
                <a:lnTo>
                  <a:pt x="1154110" y="521491"/>
                </a:lnTo>
                <a:lnTo>
                  <a:pt x="1154110" y="518316"/>
                </a:lnTo>
                <a:lnTo>
                  <a:pt x="1155698" y="513554"/>
                </a:lnTo>
                <a:lnTo>
                  <a:pt x="1155698" y="510379"/>
                </a:lnTo>
                <a:lnTo>
                  <a:pt x="1155698" y="506410"/>
                </a:lnTo>
                <a:lnTo>
                  <a:pt x="1157285" y="504823"/>
                </a:lnTo>
                <a:lnTo>
                  <a:pt x="1157285" y="503235"/>
                </a:lnTo>
                <a:lnTo>
                  <a:pt x="1158873" y="503235"/>
                </a:lnTo>
                <a:close/>
                <a:moveTo>
                  <a:pt x="274801" y="441322"/>
                </a:moveTo>
                <a:lnTo>
                  <a:pt x="279593" y="441322"/>
                </a:lnTo>
                <a:lnTo>
                  <a:pt x="285183" y="441322"/>
                </a:lnTo>
                <a:lnTo>
                  <a:pt x="289975" y="441322"/>
                </a:lnTo>
                <a:lnTo>
                  <a:pt x="294767" y="441322"/>
                </a:lnTo>
                <a:lnTo>
                  <a:pt x="296364" y="441322"/>
                </a:lnTo>
                <a:lnTo>
                  <a:pt x="377025" y="503235"/>
                </a:lnTo>
                <a:lnTo>
                  <a:pt x="377025" y="504823"/>
                </a:lnTo>
                <a:lnTo>
                  <a:pt x="377025" y="506410"/>
                </a:lnTo>
                <a:lnTo>
                  <a:pt x="377823" y="510379"/>
                </a:lnTo>
                <a:lnTo>
                  <a:pt x="377823" y="513554"/>
                </a:lnTo>
                <a:lnTo>
                  <a:pt x="377823" y="518316"/>
                </a:lnTo>
                <a:lnTo>
                  <a:pt x="377823" y="521491"/>
                </a:lnTo>
                <a:lnTo>
                  <a:pt x="377823" y="527048"/>
                </a:lnTo>
                <a:lnTo>
                  <a:pt x="377025" y="531810"/>
                </a:lnTo>
                <a:lnTo>
                  <a:pt x="373830" y="536573"/>
                </a:lnTo>
                <a:lnTo>
                  <a:pt x="370636" y="541335"/>
                </a:lnTo>
                <a:lnTo>
                  <a:pt x="367441" y="545304"/>
                </a:lnTo>
                <a:lnTo>
                  <a:pt x="364247" y="546891"/>
                </a:lnTo>
                <a:lnTo>
                  <a:pt x="360254" y="548479"/>
                </a:lnTo>
                <a:lnTo>
                  <a:pt x="357059" y="550066"/>
                </a:lnTo>
                <a:lnTo>
                  <a:pt x="353865" y="553241"/>
                </a:lnTo>
                <a:lnTo>
                  <a:pt x="349073" y="553241"/>
                </a:lnTo>
                <a:lnTo>
                  <a:pt x="345080" y="554829"/>
                </a:lnTo>
                <a:lnTo>
                  <a:pt x="340288" y="556416"/>
                </a:lnTo>
                <a:lnTo>
                  <a:pt x="335496" y="557210"/>
                </a:lnTo>
                <a:lnTo>
                  <a:pt x="252440" y="495297"/>
                </a:lnTo>
                <a:lnTo>
                  <a:pt x="250843" y="495297"/>
                </a:lnTo>
                <a:lnTo>
                  <a:pt x="249245" y="491329"/>
                </a:lnTo>
                <a:lnTo>
                  <a:pt x="249245" y="488154"/>
                </a:lnTo>
                <a:lnTo>
                  <a:pt x="249245" y="481804"/>
                </a:lnTo>
                <a:lnTo>
                  <a:pt x="247648" y="479422"/>
                </a:lnTo>
                <a:lnTo>
                  <a:pt x="247648" y="476247"/>
                </a:lnTo>
                <a:lnTo>
                  <a:pt x="247648" y="473072"/>
                </a:lnTo>
                <a:lnTo>
                  <a:pt x="249245" y="468310"/>
                </a:lnTo>
                <a:lnTo>
                  <a:pt x="250843" y="462754"/>
                </a:lnTo>
                <a:lnTo>
                  <a:pt x="253239" y="456404"/>
                </a:lnTo>
                <a:lnTo>
                  <a:pt x="256433" y="453229"/>
                </a:lnTo>
                <a:lnTo>
                  <a:pt x="258030" y="449260"/>
                </a:lnTo>
                <a:lnTo>
                  <a:pt x="261225" y="447672"/>
                </a:lnTo>
                <a:lnTo>
                  <a:pt x="264419" y="446085"/>
                </a:lnTo>
                <a:lnTo>
                  <a:pt x="267614" y="442910"/>
                </a:lnTo>
                <a:lnTo>
                  <a:pt x="271607" y="442910"/>
                </a:lnTo>
                <a:close/>
                <a:moveTo>
                  <a:pt x="1041521" y="423860"/>
                </a:moveTo>
                <a:lnTo>
                  <a:pt x="1044691" y="423860"/>
                </a:lnTo>
                <a:lnTo>
                  <a:pt x="1047861" y="423860"/>
                </a:lnTo>
                <a:lnTo>
                  <a:pt x="1051030" y="425445"/>
                </a:lnTo>
                <a:lnTo>
                  <a:pt x="1056577" y="427030"/>
                </a:lnTo>
                <a:lnTo>
                  <a:pt x="1061332" y="430199"/>
                </a:lnTo>
                <a:lnTo>
                  <a:pt x="1067671" y="433368"/>
                </a:lnTo>
                <a:lnTo>
                  <a:pt x="1074803" y="435745"/>
                </a:lnTo>
                <a:lnTo>
                  <a:pt x="1081143" y="440499"/>
                </a:lnTo>
                <a:lnTo>
                  <a:pt x="1086690" y="445254"/>
                </a:lnTo>
                <a:lnTo>
                  <a:pt x="1089860" y="448423"/>
                </a:lnTo>
                <a:lnTo>
                  <a:pt x="1093030" y="450800"/>
                </a:lnTo>
                <a:lnTo>
                  <a:pt x="1096199" y="453969"/>
                </a:lnTo>
                <a:lnTo>
                  <a:pt x="1099369" y="458723"/>
                </a:lnTo>
                <a:lnTo>
                  <a:pt x="1101746" y="461893"/>
                </a:lnTo>
                <a:lnTo>
                  <a:pt x="1103331" y="464270"/>
                </a:lnTo>
                <a:lnTo>
                  <a:pt x="1106501" y="469024"/>
                </a:lnTo>
                <a:lnTo>
                  <a:pt x="1109671" y="475363"/>
                </a:lnTo>
                <a:lnTo>
                  <a:pt x="1109671" y="479324"/>
                </a:lnTo>
                <a:lnTo>
                  <a:pt x="1112840" y="484078"/>
                </a:lnTo>
                <a:lnTo>
                  <a:pt x="1114425" y="490417"/>
                </a:lnTo>
                <a:lnTo>
                  <a:pt x="1116010" y="497548"/>
                </a:lnTo>
                <a:lnTo>
                  <a:pt x="881703" y="714372"/>
                </a:lnTo>
                <a:lnTo>
                  <a:pt x="1353360" y="714372"/>
                </a:lnTo>
                <a:lnTo>
                  <a:pt x="1354946" y="715943"/>
                </a:lnTo>
                <a:lnTo>
                  <a:pt x="1359703" y="720655"/>
                </a:lnTo>
                <a:lnTo>
                  <a:pt x="1361289" y="723797"/>
                </a:lnTo>
                <a:lnTo>
                  <a:pt x="1362875" y="727724"/>
                </a:lnTo>
                <a:lnTo>
                  <a:pt x="1365254" y="732436"/>
                </a:lnTo>
                <a:lnTo>
                  <a:pt x="1368425" y="737149"/>
                </a:lnTo>
                <a:lnTo>
                  <a:pt x="1368425" y="742647"/>
                </a:lnTo>
                <a:lnTo>
                  <a:pt x="1370011" y="748930"/>
                </a:lnTo>
                <a:lnTo>
                  <a:pt x="1368425" y="755213"/>
                </a:lnTo>
                <a:lnTo>
                  <a:pt x="1368425" y="760711"/>
                </a:lnTo>
                <a:lnTo>
                  <a:pt x="1366840" y="763852"/>
                </a:lnTo>
                <a:lnTo>
                  <a:pt x="1365254" y="768565"/>
                </a:lnTo>
                <a:lnTo>
                  <a:pt x="1364461" y="770921"/>
                </a:lnTo>
                <a:lnTo>
                  <a:pt x="1362875" y="774063"/>
                </a:lnTo>
                <a:lnTo>
                  <a:pt x="1359703" y="778775"/>
                </a:lnTo>
                <a:lnTo>
                  <a:pt x="1356532" y="781917"/>
                </a:lnTo>
                <a:lnTo>
                  <a:pt x="1353360" y="785058"/>
                </a:lnTo>
                <a:lnTo>
                  <a:pt x="1348602" y="788985"/>
                </a:lnTo>
                <a:lnTo>
                  <a:pt x="848977" y="788985"/>
                </a:lnTo>
                <a:lnTo>
                  <a:pt x="848449" y="790814"/>
                </a:lnTo>
                <a:lnTo>
                  <a:pt x="845249" y="795558"/>
                </a:lnTo>
                <a:lnTo>
                  <a:pt x="843649" y="798720"/>
                </a:lnTo>
                <a:lnTo>
                  <a:pt x="840449" y="802674"/>
                </a:lnTo>
                <a:lnTo>
                  <a:pt x="839649" y="807418"/>
                </a:lnTo>
                <a:lnTo>
                  <a:pt x="836449" y="810580"/>
                </a:lnTo>
                <a:lnTo>
                  <a:pt x="833250" y="815324"/>
                </a:lnTo>
                <a:lnTo>
                  <a:pt x="830050" y="817696"/>
                </a:lnTo>
                <a:lnTo>
                  <a:pt x="826850" y="822440"/>
                </a:lnTo>
                <a:lnTo>
                  <a:pt x="822850" y="825603"/>
                </a:lnTo>
                <a:lnTo>
                  <a:pt x="818051" y="828765"/>
                </a:lnTo>
                <a:lnTo>
                  <a:pt x="814851" y="831137"/>
                </a:lnTo>
                <a:lnTo>
                  <a:pt x="811651" y="834300"/>
                </a:lnTo>
                <a:lnTo>
                  <a:pt x="807651" y="837463"/>
                </a:lnTo>
                <a:lnTo>
                  <a:pt x="802851" y="840625"/>
                </a:lnTo>
                <a:lnTo>
                  <a:pt x="798052" y="842207"/>
                </a:lnTo>
                <a:lnTo>
                  <a:pt x="794052" y="843788"/>
                </a:lnTo>
                <a:lnTo>
                  <a:pt x="789252" y="845369"/>
                </a:lnTo>
                <a:lnTo>
                  <a:pt x="784453" y="846160"/>
                </a:lnTo>
                <a:lnTo>
                  <a:pt x="779653" y="847741"/>
                </a:lnTo>
                <a:lnTo>
                  <a:pt x="774053" y="849323"/>
                </a:lnTo>
                <a:lnTo>
                  <a:pt x="769253" y="850904"/>
                </a:lnTo>
                <a:lnTo>
                  <a:pt x="764454" y="850904"/>
                </a:lnTo>
                <a:lnTo>
                  <a:pt x="760454" y="852485"/>
                </a:lnTo>
                <a:lnTo>
                  <a:pt x="754054" y="852485"/>
                </a:lnTo>
                <a:lnTo>
                  <a:pt x="749255" y="852485"/>
                </a:lnTo>
                <a:lnTo>
                  <a:pt x="743655" y="850904"/>
                </a:lnTo>
                <a:lnTo>
                  <a:pt x="738855" y="850904"/>
                </a:lnTo>
                <a:lnTo>
                  <a:pt x="735151" y="849989"/>
                </a:lnTo>
                <a:lnTo>
                  <a:pt x="711867" y="871535"/>
                </a:lnTo>
                <a:lnTo>
                  <a:pt x="710282" y="871535"/>
                </a:lnTo>
                <a:lnTo>
                  <a:pt x="707112" y="871535"/>
                </a:lnTo>
                <a:lnTo>
                  <a:pt x="703942" y="871535"/>
                </a:lnTo>
                <a:lnTo>
                  <a:pt x="701565" y="871535"/>
                </a:lnTo>
                <a:lnTo>
                  <a:pt x="698395" y="871535"/>
                </a:lnTo>
                <a:lnTo>
                  <a:pt x="695226" y="871535"/>
                </a:lnTo>
                <a:lnTo>
                  <a:pt x="692056" y="869951"/>
                </a:lnTo>
                <a:lnTo>
                  <a:pt x="687301" y="868366"/>
                </a:lnTo>
                <a:lnTo>
                  <a:pt x="683339" y="866781"/>
                </a:lnTo>
                <a:lnTo>
                  <a:pt x="678584" y="865196"/>
                </a:lnTo>
                <a:lnTo>
                  <a:pt x="673830" y="862027"/>
                </a:lnTo>
                <a:lnTo>
                  <a:pt x="669868" y="859650"/>
                </a:lnTo>
                <a:lnTo>
                  <a:pt x="663528" y="854896"/>
                </a:lnTo>
                <a:lnTo>
                  <a:pt x="658774" y="850142"/>
                </a:lnTo>
                <a:lnTo>
                  <a:pt x="654811" y="845388"/>
                </a:lnTo>
                <a:lnTo>
                  <a:pt x="650057" y="839841"/>
                </a:lnTo>
                <a:lnTo>
                  <a:pt x="646887" y="833503"/>
                </a:lnTo>
                <a:lnTo>
                  <a:pt x="643717" y="829541"/>
                </a:lnTo>
                <a:lnTo>
                  <a:pt x="642132" y="824787"/>
                </a:lnTo>
                <a:lnTo>
                  <a:pt x="639755" y="820033"/>
                </a:lnTo>
                <a:lnTo>
                  <a:pt x="639755" y="816863"/>
                </a:lnTo>
                <a:lnTo>
                  <a:pt x="638170" y="814486"/>
                </a:lnTo>
                <a:lnTo>
                  <a:pt x="636585" y="809732"/>
                </a:lnTo>
                <a:lnTo>
                  <a:pt x="636585" y="806563"/>
                </a:lnTo>
                <a:lnTo>
                  <a:pt x="636585" y="803394"/>
                </a:lnTo>
                <a:lnTo>
                  <a:pt x="636585" y="801809"/>
                </a:lnTo>
                <a:lnTo>
                  <a:pt x="636585" y="799432"/>
                </a:lnTo>
                <a:lnTo>
                  <a:pt x="638170" y="799432"/>
                </a:lnTo>
                <a:lnTo>
                  <a:pt x="649389" y="788985"/>
                </a:lnTo>
                <a:lnTo>
                  <a:pt x="629421" y="788985"/>
                </a:lnTo>
                <a:lnTo>
                  <a:pt x="627835" y="787414"/>
                </a:lnTo>
                <a:lnTo>
                  <a:pt x="626250" y="787414"/>
                </a:lnTo>
                <a:lnTo>
                  <a:pt x="622285" y="785058"/>
                </a:lnTo>
                <a:lnTo>
                  <a:pt x="619113" y="781917"/>
                </a:lnTo>
                <a:lnTo>
                  <a:pt x="615942" y="777204"/>
                </a:lnTo>
                <a:lnTo>
                  <a:pt x="612770" y="770921"/>
                </a:lnTo>
                <a:lnTo>
                  <a:pt x="611184" y="768565"/>
                </a:lnTo>
                <a:lnTo>
                  <a:pt x="609598" y="763852"/>
                </a:lnTo>
                <a:lnTo>
                  <a:pt x="609598" y="759140"/>
                </a:lnTo>
                <a:lnTo>
                  <a:pt x="609598" y="755213"/>
                </a:lnTo>
                <a:lnTo>
                  <a:pt x="609598" y="748930"/>
                </a:lnTo>
                <a:lnTo>
                  <a:pt x="609598" y="745788"/>
                </a:lnTo>
                <a:lnTo>
                  <a:pt x="611184" y="739505"/>
                </a:lnTo>
                <a:lnTo>
                  <a:pt x="612770" y="737149"/>
                </a:lnTo>
                <a:lnTo>
                  <a:pt x="614356" y="732436"/>
                </a:lnTo>
                <a:lnTo>
                  <a:pt x="617527" y="729295"/>
                </a:lnTo>
                <a:lnTo>
                  <a:pt x="619113" y="726153"/>
                </a:lnTo>
                <a:lnTo>
                  <a:pt x="622285" y="724582"/>
                </a:lnTo>
                <a:lnTo>
                  <a:pt x="626250" y="720655"/>
                </a:lnTo>
                <a:lnTo>
                  <a:pt x="631007" y="717514"/>
                </a:lnTo>
                <a:lnTo>
                  <a:pt x="634179" y="714372"/>
                </a:lnTo>
                <a:lnTo>
                  <a:pt x="635765" y="714372"/>
                </a:lnTo>
                <a:lnTo>
                  <a:pt x="658508" y="714372"/>
                </a:lnTo>
                <a:lnTo>
                  <a:pt x="659660" y="710957"/>
                </a:lnTo>
                <a:lnTo>
                  <a:pt x="661260" y="707004"/>
                </a:lnTo>
                <a:lnTo>
                  <a:pt x="662860" y="702260"/>
                </a:lnTo>
                <a:lnTo>
                  <a:pt x="666059" y="697516"/>
                </a:lnTo>
                <a:lnTo>
                  <a:pt x="669259" y="693562"/>
                </a:lnTo>
                <a:lnTo>
                  <a:pt x="671659" y="690400"/>
                </a:lnTo>
                <a:lnTo>
                  <a:pt x="674859" y="685656"/>
                </a:lnTo>
                <a:lnTo>
                  <a:pt x="678059" y="682493"/>
                </a:lnTo>
                <a:lnTo>
                  <a:pt x="681259" y="679330"/>
                </a:lnTo>
                <a:lnTo>
                  <a:pt x="684458" y="675377"/>
                </a:lnTo>
                <a:lnTo>
                  <a:pt x="688458" y="672214"/>
                </a:lnTo>
                <a:lnTo>
                  <a:pt x="691658" y="669052"/>
                </a:lnTo>
                <a:lnTo>
                  <a:pt x="696458" y="665889"/>
                </a:lnTo>
                <a:lnTo>
                  <a:pt x="701257" y="663517"/>
                </a:lnTo>
                <a:lnTo>
                  <a:pt x="705257" y="661936"/>
                </a:lnTo>
                <a:lnTo>
                  <a:pt x="710057" y="658773"/>
                </a:lnTo>
                <a:lnTo>
                  <a:pt x="714857" y="657192"/>
                </a:lnTo>
                <a:lnTo>
                  <a:pt x="718856" y="655611"/>
                </a:lnTo>
                <a:lnTo>
                  <a:pt x="723656" y="654029"/>
                </a:lnTo>
                <a:lnTo>
                  <a:pt x="728456" y="652448"/>
                </a:lnTo>
                <a:lnTo>
                  <a:pt x="732456" y="650867"/>
                </a:lnTo>
                <a:lnTo>
                  <a:pt x="738855" y="650867"/>
                </a:lnTo>
                <a:lnTo>
                  <a:pt x="743655" y="649285"/>
                </a:lnTo>
                <a:lnTo>
                  <a:pt x="749255" y="649285"/>
                </a:lnTo>
                <a:lnTo>
                  <a:pt x="754054" y="649285"/>
                </a:lnTo>
                <a:lnTo>
                  <a:pt x="760454" y="649285"/>
                </a:lnTo>
                <a:lnTo>
                  <a:pt x="764454" y="649285"/>
                </a:lnTo>
                <a:lnTo>
                  <a:pt x="769253" y="650867"/>
                </a:lnTo>
                <a:lnTo>
                  <a:pt x="774053" y="650867"/>
                </a:lnTo>
                <a:lnTo>
                  <a:pt x="779653" y="652448"/>
                </a:lnTo>
                <a:lnTo>
                  <a:pt x="784453" y="654029"/>
                </a:lnTo>
                <a:lnTo>
                  <a:pt x="789252" y="655611"/>
                </a:lnTo>
                <a:lnTo>
                  <a:pt x="791747" y="656432"/>
                </a:lnTo>
                <a:close/>
                <a:moveTo>
                  <a:pt x="1036147" y="241297"/>
                </a:moveTo>
                <a:lnTo>
                  <a:pt x="1040088" y="241297"/>
                </a:lnTo>
                <a:lnTo>
                  <a:pt x="1043241" y="241297"/>
                </a:lnTo>
                <a:lnTo>
                  <a:pt x="1047970" y="241297"/>
                </a:lnTo>
                <a:lnTo>
                  <a:pt x="1051123" y="241297"/>
                </a:lnTo>
                <a:lnTo>
                  <a:pt x="1054276" y="242894"/>
                </a:lnTo>
                <a:lnTo>
                  <a:pt x="1056640" y="244491"/>
                </a:lnTo>
                <a:lnTo>
                  <a:pt x="1061370" y="247685"/>
                </a:lnTo>
                <a:lnTo>
                  <a:pt x="1066099" y="251678"/>
                </a:lnTo>
                <a:lnTo>
                  <a:pt x="1070828" y="258066"/>
                </a:lnTo>
                <a:lnTo>
                  <a:pt x="1073193" y="264454"/>
                </a:lnTo>
                <a:lnTo>
                  <a:pt x="1076345" y="270043"/>
                </a:lnTo>
                <a:lnTo>
                  <a:pt x="1076345" y="274834"/>
                </a:lnTo>
                <a:lnTo>
                  <a:pt x="1077922" y="279625"/>
                </a:lnTo>
                <a:lnTo>
                  <a:pt x="1077922" y="282021"/>
                </a:lnTo>
                <a:lnTo>
                  <a:pt x="1079498" y="283618"/>
                </a:lnTo>
                <a:lnTo>
                  <a:pt x="1025112" y="373050"/>
                </a:lnTo>
                <a:lnTo>
                  <a:pt x="1019595" y="373050"/>
                </a:lnTo>
                <a:lnTo>
                  <a:pt x="1014866" y="374647"/>
                </a:lnTo>
                <a:lnTo>
                  <a:pt x="1009348" y="374647"/>
                </a:lnTo>
                <a:lnTo>
                  <a:pt x="1006195" y="374647"/>
                </a:lnTo>
                <a:lnTo>
                  <a:pt x="1001466" y="374647"/>
                </a:lnTo>
                <a:lnTo>
                  <a:pt x="998313" y="373050"/>
                </a:lnTo>
                <a:lnTo>
                  <a:pt x="994372" y="373050"/>
                </a:lnTo>
                <a:lnTo>
                  <a:pt x="991220" y="373050"/>
                </a:lnTo>
                <a:lnTo>
                  <a:pt x="984914" y="370655"/>
                </a:lnTo>
                <a:lnTo>
                  <a:pt x="980185" y="367461"/>
                </a:lnTo>
                <a:lnTo>
                  <a:pt x="977820" y="364267"/>
                </a:lnTo>
                <a:lnTo>
                  <a:pt x="974667" y="359476"/>
                </a:lnTo>
                <a:lnTo>
                  <a:pt x="971514" y="355483"/>
                </a:lnTo>
                <a:lnTo>
                  <a:pt x="969938" y="350692"/>
                </a:lnTo>
                <a:lnTo>
                  <a:pt x="968362" y="347498"/>
                </a:lnTo>
                <a:lnTo>
                  <a:pt x="968362" y="342707"/>
                </a:lnTo>
                <a:lnTo>
                  <a:pt x="966785" y="338714"/>
                </a:lnTo>
                <a:lnTo>
                  <a:pt x="968362" y="335520"/>
                </a:lnTo>
                <a:lnTo>
                  <a:pt x="1018018" y="250081"/>
                </a:lnTo>
                <a:lnTo>
                  <a:pt x="1019595" y="249282"/>
                </a:lnTo>
                <a:lnTo>
                  <a:pt x="1022748" y="247685"/>
                </a:lnTo>
                <a:lnTo>
                  <a:pt x="1024324" y="246088"/>
                </a:lnTo>
                <a:lnTo>
                  <a:pt x="1026689" y="244491"/>
                </a:lnTo>
                <a:lnTo>
                  <a:pt x="1029841" y="242894"/>
                </a:lnTo>
                <a:lnTo>
                  <a:pt x="1032994" y="242894"/>
                </a:lnTo>
                <a:close/>
                <a:moveTo>
                  <a:pt x="483192" y="241297"/>
                </a:moveTo>
                <a:lnTo>
                  <a:pt x="487132" y="241297"/>
                </a:lnTo>
                <a:lnTo>
                  <a:pt x="490284" y="241297"/>
                </a:lnTo>
                <a:lnTo>
                  <a:pt x="493436" y="241297"/>
                </a:lnTo>
                <a:lnTo>
                  <a:pt x="498165" y="241297"/>
                </a:lnTo>
                <a:lnTo>
                  <a:pt x="501317" y="242894"/>
                </a:lnTo>
                <a:lnTo>
                  <a:pt x="506833" y="244491"/>
                </a:lnTo>
                <a:lnTo>
                  <a:pt x="511561" y="247685"/>
                </a:lnTo>
                <a:lnTo>
                  <a:pt x="514713" y="249282"/>
                </a:lnTo>
                <a:lnTo>
                  <a:pt x="517078" y="250081"/>
                </a:lnTo>
                <a:lnTo>
                  <a:pt x="565148" y="335520"/>
                </a:lnTo>
                <a:lnTo>
                  <a:pt x="565148" y="338714"/>
                </a:lnTo>
                <a:lnTo>
                  <a:pt x="565148" y="342707"/>
                </a:lnTo>
                <a:lnTo>
                  <a:pt x="563572" y="347498"/>
                </a:lnTo>
                <a:lnTo>
                  <a:pt x="562784" y="350692"/>
                </a:lnTo>
                <a:lnTo>
                  <a:pt x="561208" y="355483"/>
                </a:lnTo>
                <a:lnTo>
                  <a:pt x="559632" y="359476"/>
                </a:lnTo>
                <a:lnTo>
                  <a:pt x="554904" y="364267"/>
                </a:lnTo>
                <a:lnTo>
                  <a:pt x="551752" y="367461"/>
                </a:lnTo>
                <a:lnTo>
                  <a:pt x="546235" y="370655"/>
                </a:lnTo>
                <a:lnTo>
                  <a:pt x="541507" y="373050"/>
                </a:lnTo>
                <a:lnTo>
                  <a:pt x="538355" y="373050"/>
                </a:lnTo>
                <a:lnTo>
                  <a:pt x="533627" y="373050"/>
                </a:lnTo>
                <a:lnTo>
                  <a:pt x="529686" y="374647"/>
                </a:lnTo>
                <a:lnTo>
                  <a:pt x="526534" y="374647"/>
                </a:lnTo>
                <a:lnTo>
                  <a:pt x="521806" y="374647"/>
                </a:lnTo>
                <a:lnTo>
                  <a:pt x="517078" y="374647"/>
                </a:lnTo>
                <a:lnTo>
                  <a:pt x="513137" y="373050"/>
                </a:lnTo>
                <a:lnTo>
                  <a:pt x="506833" y="373050"/>
                </a:lnTo>
                <a:lnTo>
                  <a:pt x="455610" y="283618"/>
                </a:lnTo>
                <a:lnTo>
                  <a:pt x="455610" y="282021"/>
                </a:lnTo>
                <a:lnTo>
                  <a:pt x="455610" y="279625"/>
                </a:lnTo>
                <a:lnTo>
                  <a:pt x="455610" y="274834"/>
                </a:lnTo>
                <a:lnTo>
                  <a:pt x="457186" y="270043"/>
                </a:lnTo>
                <a:lnTo>
                  <a:pt x="458762" y="264454"/>
                </a:lnTo>
                <a:lnTo>
                  <a:pt x="461915" y="258066"/>
                </a:lnTo>
                <a:lnTo>
                  <a:pt x="466643" y="251678"/>
                </a:lnTo>
                <a:lnTo>
                  <a:pt x="472159" y="247685"/>
                </a:lnTo>
                <a:lnTo>
                  <a:pt x="475311" y="244491"/>
                </a:lnTo>
                <a:lnTo>
                  <a:pt x="480040" y="242894"/>
                </a:lnTo>
                <a:close/>
                <a:moveTo>
                  <a:pt x="749298" y="163510"/>
                </a:moveTo>
                <a:lnTo>
                  <a:pt x="754060" y="163510"/>
                </a:lnTo>
                <a:lnTo>
                  <a:pt x="758823" y="165089"/>
                </a:lnTo>
                <a:lnTo>
                  <a:pt x="761998" y="165089"/>
                </a:lnTo>
                <a:lnTo>
                  <a:pt x="764379" y="165089"/>
                </a:lnTo>
                <a:lnTo>
                  <a:pt x="769141" y="166668"/>
                </a:lnTo>
                <a:lnTo>
                  <a:pt x="772316" y="168247"/>
                </a:lnTo>
                <a:lnTo>
                  <a:pt x="777079" y="172983"/>
                </a:lnTo>
                <a:lnTo>
                  <a:pt x="782635" y="176930"/>
                </a:lnTo>
                <a:lnTo>
                  <a:pt x="785810" y="180088"/>
                </a:lnTo>
                <a:lnTo>
                  <a:pt x="788985" y="184824"/>
                </a:lnTo>
                <a:lnTo>
                  <a:pt x="792160" y="186403"/>
                </a:lnTo>
                <a:lnTo>
                  <a:pt x="792160" y="187982"/>
                </a:lnTo>
                <a:lnTo>
                  <a:pt x="792160" y="289817"/>
                </a:lnTo>
                <a:lnTo>
                  <a:pt x="785810" y="292974"/>
                </a:lnTo>
                <a:lnTo>
                  <a:pt x="782635" y="296132"/>
                </a:lnTo>
                <a:lnTo>
                  <a:pt x="778666" y="298500"/>
                </a:lnTo>
                <a:lnTo>
                  <a:pt x="775491" y="301658"/>
                </a:lnTo>
                <a:lnTo>
                  <a:pt x="770729" y="303237"/>
                </a:lnTo>
                <a:lnTo>
                  <a:pt x="767554" y="304815"/>
                </a:lnTo>
                <a:lnTo>
                  <a:pt x="764379" y="306394"/>
                </a:lnTo>
                <a:lnTo>
                  <a:pt x="761998" y="307973"/>
                </a:lnTo>
                <a:lnTo>
                  <a:pt x="754060" y="307973"/>
                </a:lnTo>
                <a:lnTo>
                  <a:pt x="749298" y="307973"/>
                </a:lnTo>
                <a:lnTo>
                  <a:pt x="743741" y="304815"/>
                </a:lnTo>
                <a:lnTo>
                  <a:pt x="740566" y="304815"/>
                </a:lnTo>
                <a:lnTo>
                  <a:pt x="734216" y="301658"/>
                </a:lnTo>
                <a:lnTo>
                  <a:pt x="731835" y="298500"/>
                </a:lnTo>
                <a:lnTo>
                  <a:pt x="728660" y="296132"/>
                </a:lnTo>
                <a:lnTo>
                  <a:pt x="727073" y="292974"/>
                </a:lnTo>
                <a:lnTo>
                  <a:pt x="722310" y="288238"/>
                </a:lnTo>
                <a:lnTo>
                  <a:pt x="722310" y="286659"/>
                </a:lnTo>
                <a:lnTo>
                  <a:pt x="722310" y="189561"/>
                </a:lnTo>
                <a:lnTo>
                  <a:pt x="722310" y="187982"/>
                </a:lnTo>
                <a:lnTo>
                  <a:pt x="723898" y="184824"/>
                </a:lnTo>
                <a:lnTo>
                  <a:pt x="727073" y="180088"/>
                </a:lnTo>
                <a:lnTo>
                  <a:pt x="731835" y="175351"/>
                </a:lnTo>
                <a:lnTo>
                  <a:pt x="737391" y="169825"/>
                </a:lnTo>
                <a:lnTo>
                  <a:pt x="743741" y="166668"/>
                </a:lnTo>
                <a:lnTo>
                  <a:pt x="746916" y="165089"/>
                </a:lnTo>
                <a:close/>
                <a:moveTo>
                  <a:pt x="759617" y="98006"/>
                </a:moveTo>
                <a:cubicBezTo>
                  <a:pt x="394219" y="98006"/>
                  <a:pt x="98006" y="394219"/>
                  <a:pt x="98006" y="759616"/>
                </a:cubicBezTo>
                <a:cubicBezTo>
                  <a:pt x="98006" y="1125013"/>
                  <a:pt x="394219" y="1421226"/>
                  <a:pt x="759617" y="1421226"/>
                </a:cubicBezTo>
                <a:cubicBezTo>
                  <a:pt x="1125015" y="1421226"/>
                  <a:pt x="1421228" y="1125013"/>
                  <a:pt x="1421228" y="759616"/>
                </a:cubicBezTo>
                <a:cubicBezTo>
                  <a:pt x="1421228" y="394219"/>
                  <a:pt x="1125015" y="98006"/>
                  <a:pt x="759617" y="98006"/>
                </a:cubicBezTo>
                <a:close/>
                <a:moveTo>
                  <a:pt x="759617" y="0"/>
                </a:moveTo>
                <a:cubicBezTo>
                  <a:pt x="1179142" y="0"/>
                  <a:pt x="1519234" y="340092"/>
                  <a:pt x="1519234" y="759616"/>
                </a:cubicBezTo>
                <a:cubicBezTo>
                  <a:pt x="1519234" y="1179140"/>
                  <a:pt x="1179142" y="1519232"/>
                  <a:pt x="759617" y="1519232"/>
                </a:cubicBezTo>
                <a:cubicBezTo>
                  <a:pt x="340092" y="1519232"/>
                  <a:pt x="0" y="1179140"/>
                  <a:pt x="0" y="759616"/>
                </a:cubicBezTo>
                <a:cubicBezTo>
                  <a:pt x="0" y="340092"/>
                  <a:pt x="340092" y="0"/>
                  <a:pt x="75961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911260" y="1953119"/>
            <a:ext cx="365125" cy="365125"/>
            <a:chOff x="3649415" y="1934453"/>
            <a:chExt cx="365125" cy="365125"/>
          </a:xfrm>
        </p:grpSpPr>
        <p:sp>
          <p:nvSpPr>
            <p:cNvPr id="53" name="Oval 52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54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911260" y="3348850"/>
            <a:ext cx="365125" cy="365125"/>
            <a:chOff x="3649415" y="1934453"/>
            <a:chExt cx="365125" cy="365125"/>
          </a:xfrm>
        </p:grpSpPr>
        <p:sp>
          <p:nvSpPr>
            <p:cNvPr id="56" name="Oval 55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57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3911260" y="4756018"/>
            <a:ext cx="365125" cy="365125"/>
            <a:chOff x="3649415" y="1934453"/>
            <a:chExt cx="365125" cy="365125"/>
          </a:xfrm>
        </p:grpSpPr>
        <p:sp>
          <p:nvSpPr>
            <p:cNvPr id="59" name="Oval 58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60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761614" y="4756018"/>
            <a:ext cx="365125" cy="365125"/>
            <a:chOff x="3649415" y="1934453"/>
            <a:chExt cx="365125" cy="365125"/>
          </a:xfrm>
        </p:grpSpPr>
        <p:sp>
          <p:nvSpPr>
            <p:cNvPr id="62" name="Oval 61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63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9558648" y="4756018"/>
            <a:ext cx="365125" cy="365125"/>
            <a:chOff x="3649415" y="1934453"/>
            <a:chExt cx="365125" cy="365125"/>
          </a:xfrm>
        </p:grpSpPr>
        <p:sp>
          <p:nvSpPr>
            <p:cNvPr id="65" name="Oval 64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66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778703" y="3348850"/>
            <a:ext cx="365125" cy="365125"/>
            <a:chOff x="5516858" y="3348850"/>
            <a:chExt cx="365125" cy="365125"/>
          </a:xfrm>
        </p:grpSpPr>
        <p:sp>
          <p:nvSpPr>
            <p:cNvPr id="67" name="Oval 66"/>
            <p:cNvSpPr/>
            <p:nvPr/>
          </p:nvSpPr>
          <p:spPr>
            <a:xfrm>
              <a:off x="5516858" y="3348850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68" name="Donut 146"/>
            <p:cNvSpPr/>
            <p:nvPr/>
          </p:nvSpPr>
          <p:spPr>
            <a:xfrm>
              <a:off x="5563859" y="3395851"/>
              <a:ext cx="271123" cy="271123"/>
            </a:xfrm>
            <a:custGeom>
              <a:avLst/>
              <a:gdLst/>
              <a:ahLst/>
              <a:cxnLst/>
              <a:rect l="l" t="t" r="r" b="b"/>
              <a:pathLst>
                <a:path w="1519234" h="1519232">
                  <a:moveTo>
                    <a:pt x="749584" y="1231897"/>
                  </a:moveTo>
                  <a:lnTo>
                    <a:pt x="752795" y="1231897"/>
                  </a:lnTo>
                  <a:lnTo>
                    <a:pt x="757611" y="1231897"/>
                  </a:lnTo>
                  <a:lnTo>
                    <a:pt x="762427" y="1231897"/>
                  </a:lnTo>
                  <a:lnTo>
                    <a:pt x="764835" y="1231897"/>
                  </a:lnTo>
                  <a:lnTo>
                    <a:pt x="769651" y="1233476"/>
                  </a:lnTo>
                  <a:lnTo>
                    <a:pt x="772861" y="1235055"/>
                  </a:lnTo>
                  <a:lnTo>
                    <a:pt x="776072" y="1236633"/>
                  </a:lnTo>
                  <a:lnTo>
                    <a:pt x="781691" y="1239791"/>
                  </a:lnTo>
                  <a:lnTo>
                    <a:pt x="786507" y="1244527"/>
                  </a:lnTo>
                  <a:lnTo>
                    <a:pt x="789718" y="1246895"/>
                  </a:lnTo>
                  <a:lnTo>
                    <a:pt x="792928" y="1250053"/>
                  </a:lnTo>
                  <a:lnTo>
                    <a:pt x="794534" y="1253210"/>
                  </a:lnTo>
                  <a:lnTo>
                    <a:pt x="795336" y="1254789"/>
                  </a:lnTo>
                  <a:lnTo>
                    <a:pt x="794534" y="1356617"/>
                  </a:lnTo>
                  <a:lnTo>
                    <a:pt x="789718" y="1359774"/>
                  </a:lnTo>
                  <a:lnTo>
                    <a:pt x="786507" y="1362932"/>
                  </a:lnTo>
                  <a:lnTo>
                    <a:pt x="781691" y="1366089"/>
                  </a:lnTo>
                  <a:lnTo>
                    <a:pt x="779283" y="1368457"/>
                  </a:lnTo>
                  <a:lnTo>
                    <a:pt x="774467" y="1370036"/>
                  </a:lnTo>
                  <a:lnTo>
                    <a:pt x="771256" y="1371615"/>
                  </a:lnTo>
                  <a:lnTo>
                    <a:pt x="768045" y="1373194"/>
                  </a:lnTo>
                  <a:lnTo>
                    <a:pt x="764835" y="1374772"/>
                  </a:lnTo>
                  <a:lnTo>
                    <a:pt x="757611" y="1374772"/>
                  </a:lnTo>
                  <a:lnTo>
                    <a:pt x="752795" y="1374772"/>
                  </a:lnTo>
                  <a:lnTo>
                    <a:pt x="747176" y="1373194"/>
                  </a:lnTo>
                  <a:lnTo>
                    <a:pt x="743965" y="1371615"/>
                  </a:lnTo>
                  <a:lnTo>
                    <a:pt x="737544" y="1368457"/>
                  </a:lnTo>
                  <a:lnTo>
                    <a:pt x="734333" y="1366879"/>
                  </a:lnTo>
                  <a:lnTo>
                    <a:pt x="730320" y="1364510"/>
                  </a:lnTo>
                  <a:lnTo>
                    <a:pt x="728714" y="1361353"/>
                  </a:lnTo>
                  <a:lnTo>
                    <a:pt x="725504" y="1356617"/>
                  </a:lnTo>
                  <a:lnTo>
                    <a:pt x="723898" y="1355038"/>
                  </a:lnTo>
                  <a:lnTo>
                    <a:pt x="723898" y="1254789"/>
                  </a:lnTo>
                  <a:lnTo>
                    <a:pt x="727109" y="1251631"/>
                  </a:lnTo>
                  <a:lnTo>
                    <a:pt x="730320" y="1245316"/>
                  </a:lnTo>
                  <a:lnTo>
                    <a:pt x="734333" y="1242948"/>
                  </a:lnTo>
                  <a:lnTo>
                    <a:pt x="739149" y="1236633"/>
                  </a:lnTo>
                  <a:lnTo>
                    <a:pt x="747176" y="1233476"/>
                  </a:lnTo>
                  <a:close/>
                  <a:moveTo>
                    <a:pt x="995175" y="1155697"/>
                  </a:moveTo>
                  <a:lnTo>
                    <a:pt x="999904" y="1155697"/>
                  </a:lnTo>
                  <a:lnTo>
                    <a:pt x="1003057" y="1155697"/>
                  </a:lnTo>
                  <a:lnTo>
                    <a:pt x="1007787" y="1155697"/>
                  </a:lnTo>
                  <a:lnTo>
                    <a:pt x="1010152" y="1155697"/>
                  </a:lnTo>
                  <a:lnTo>
                    <a:pt x="1016458" y="1155697"/>
                  </a:lnTo>
                  <a:lnTo>
                    <a:pt x="1021188" y="1155697"/>
                  </a:lnTo>
                  <a:lnTo>
                    <a:pt x="1026706" y="1158872"/>
                  </a:lnTo>
                  <a:lnTo>
                    <a:pt x="1082673" y="1247772"/>
                  </a:lnTo>
                  <a:lnTo>
                    <a:pt x="1081097" y="1247772"/>
                  </a:lnTo>
                  <a:lnTo>
                    <a:pt x="1081097" y="1250947"/>
                  </a:lnTo>
                  <a:lnTo>
                    <a:pt x="1081097" y="1254122"/>
                  </a:lnTo>
                  <a:lnTo>
                    <a:pt x="1079520" y="1259678"/>
                  </a:lnTo>
                  <a:lnTo>
                    <a:pt x="1076367" y="1266028"/>
                  </a:lnTo>
                  <a:lnTo>
                    <a:pt x="1074790" y="1272378"/>
                  </a:lnTo>
                  <a:lnTo>
                    <a:pt x="1070849" y="1276347"/>
                  </a:lnTo>
                  <a:lnTo>
                    <a:pt x="1064543" y="1284285"/>
                  </a:lnTo>
                  <a:lnTo>
                    <a:pt x="1061390" y="1284285"/>
                  </a:lnTo>
                  <a:lnTo>
                    <a:pt x="1056660" y="1287460"/>
                  </a:lnTo>
                  <a:lnTo>
                    <a:pt x="1054295" y="1287460"/>
                  </a:lnTo>
                  <a:lnTo>
                    <a:pt x="1051142" y="1289047"/>
                  </a:lnTo>
                  <a:lnTo>
                    <a:pt x="1046413" y="1289047"/>
                  </a:lnTo>
                  <a:lnTo>
                    <a:pt x="1043259" y="1289047"/>
                  </a:lnTo>
                  <a:lnTo>
                    <a:pt x="1039318" y="1287460"/>
                  </a:lnTo>
                  <a:lnTo>
                    <a:pt x="1036165" y="1287460"/>
                  </a:lnTo>
                  <a:lnTo>
                    <a:pt x="1029859" y="1284285"/>
                  </a:lnTo>
                  <a:lnTo>
                    <a:pt x="1025129" y="1282697"/>
                  </a:lnTo>
                  <a:lnTo>
                    <a:pt x="1022764" y="1281110"/>
                  </a:lnTo>
                  <a:lnTo>
                    <a:pt x="1021188" y="1281110"/>
                  </a:lnTo>
                  <a:lnTo>
                    <a:pt x="969950" y="1196972"/>
                  </a:lnTo>
                  <a:lnTo>
                    <a:pt x="968373" y="1195385"/>
                  </a:lnTo>
                  <a:lnTo>
                    <a:pt x="968373" y="1193797"/>
                  </a:lnTo>
                  <a:lnTo>
                    <a:pt x="968373" y="1190622"/>
                  </a:lnTo>
                  <a:lnTo>
                    <a:pt x="969950" y="1187447"/>
                  </a:lnTo>
                  <a:lnTo>
                    <a:pt x="969950" y="1182685"/>
                  </a:lnTo>
                  <a:lnTo>
                    <a:pt x="971526" y="1180303"/>
                  </a:lnTo>
                  <a:lnTo>
                    <a:pt x="973103" y="1175541"/>
                  </a:lnTo>
                  <a:lnTo>
                    <a:pt x="976256" y="1172366"/>
                  </a:lnTo>
                  <a:lnTo>
                    <a:pt x="978621" y="1167603"/>
                  </a:lnTo>
                  <a:lnTo>
                    <a:pt x="981774" y="1163635"/>
                  </a:lnTo>
                  <a:lnTo>
                    <a:pt x="986504" y="1160460"/>
                  </a:lnTo>
                  <a:lnTo>
                    <a:pt x="992810" y="1157285"/>
                  </a:lnTo>
                  <a:close/>
                  <a:moveTo>
                    <a:pt x="517118" y="1155697"/>
                  </a:moveTo>
                  <a:lnTo>
                    <a:pt x="523423" y="1155697"/>
                  </a:lnTo>
                  <a:lnTo>
                    <a:pt x="526575" y="1155697"/>
                  </a:lnTo>
                  <a:lnTo>
                    <a:pt x="532092" y="1155697"/>
                  </a:lnTo>
                  <a:lnTo>
                    <a:pt x="535245" y="1155697"/>
                  </a:lnTo>
                  <a:lnTo>
                    <a:pt x="539973" y="1155697"/>
                  </a:lnTo>
                  <a:lnTo>
                    <a:pt x="543126" y="1155697"/>
                  </a:lnTo>
                  <a:lnTo>
                    <a:pt x="546278" y="1157285"/>
                  </a:lnTo>
                  <a:lnTo>
                    <a:pt x="551795" y="1160460"/>
                  </a:lnTo>
                  <a:lnTo>
                    <a:pt x="556524" y="1163635"/>
                  </a:lnTo>
                  <a:lnTo>
                    <a:pt x="561253" y="1167603"/>
                  </a:lnTo>
                  <a:lnTo>
                    <a:pt x="563617" y="1172366"/>
                  </a:lnTo>
                  <a:lnTo>
                    <a:pt x="565193" y="1175541"/>
                  </a:lnTo>
                  <a:lnTo>
                    <a:pt x="568346" y="1180303"/>
                  </a:lnTo>
                  <a:lnTo>
                    <a:pt x="568346" y="1182685"/>
                  </a:lnTo>
                  <a:lnTo>
                    <a:pt x="569922" y="1187447"/>
                  </a:lnTo>
                  <a:lnTo>
                    <a:pt x="569922" y="1190622"/>
                  </a:lnTo>
                  <a:lnTo>
                    <a:pt x="569922" y="1193797"/>
                  </a:lnTo>
                  <a:lnTo>
                    <a:pt x="569922" y="1195385"/>
                  </a:lnTo>
                  <a:lnTo>
                    <a:pt x="571498" y="1196972"/>
                  </a:lnTo>
                  <a:lnTo>
                    <a:pt x="518694" y="1281110"/>
                  </a:lnTo>
                  <a:lnTo>
                    <a:pt x="517118" y="1281110"/>
                  </a:lnTo>
                  <a:lnTo>
                    <a:pt x="514754" y="1282697"/>
                  </a:lnTo>
                  <a:lnTo>
                    <a:pt x="510025" y="1284285"/>
                  </a:lnTo>
                  <a:lnTo>
                    <a:pt x="503720" y="1287460"/>
                  </a:lnTo>
                  <a:lnTo>
                    <a:pt x="501356" y="1287460"/>
                  </a:lnTo>
                  <a:lnTo>
                    <a:pt x="496627" y="1289047"/>
                  </a:lnTo>
                  <a:lnTo>
                    <a:pt x="493474" y="1289047"/>
                  </a:lnTo>
                  <a:lnTo>
                    <a:pt x="490322" y="1289047"/>
                  </a:lnTo>
                  <a:lnTo>
                    <a:pt x="486381" y="1287460"/>
                  </a:lnTo>
                  <a:lnTo>
                    <a:pt x="483229" y="1287460"/>
                  </a:lnTo>
                  <a:lnTo>
                    <a:pt x="480076" y="1284285"/>
                  </a:lnTo>
                  <a:lnTo>
                    <a:pt x="476924" y="1284285"/>
                  </a:lnTo>
                  <a:lnTo>
                    <a:pt x="470619" y="1276347"/>
                  </a:lnTo>
                  <a:lnTo>
                    <a:pt x="466678" y="1272378"/>
                  </a:lnTo>
                  <a:lnTo>
                    <a:pt x="463526" y="1266028"/>
                  </a:lnTo>
                  <a:lnTo>
                    <a:pt x="461949" y="1259678"/>
                  </a:lnTo>
                  <a:lnTo>
                    <a:pt x="460373" y="1254122"/>
                  </a:lnTo>
                  <a:lnTo>
                    <a:pt x="460373" y="1250947"/>
                  </a:lnTo>
                  <a:lnTo>
                    <a:pt x="460373" y="1247772"/>
                  </a:lnTo>
                  <a:lnTo>
                    <a:pt x="513177" y="1158872"/>
                  </a:lnTo>
                  <a:close/>
                  <a:moveTo>
                    <a:pt x="1192210" y="971547"/>
                  </a:moveTo>
                  <a:lnTo>
                    <a:pt x="1197767" y="971547"/>
                  </a:lnTo>
                  <a:lnTo>
                    <a:pt x="1281111" y="1031456"/>
                  </a:lnTo>
                  <a:lnTo>
                    <a:pt x="1282698" y="1036186"/>
                  </a:lnTo>
                  <a:lnTo>
                    <a:pt x="1284286" y="1039339"/>
                  </a:lnTo>
                  <a:lnTo>
                    <a:pt x="1285873" y="1044857"/>
                  </a:lnTo>
                  <a:lnTo>
                    <a:pt x="1285873" y="1046433"/>
                  </a:lnTo>
                  <a:lnTo>
                    <a:pt x="1285873" y="1051163"/>
                  </a:lnTo>
                  <a:lnTo>
                    <a:pt x="1285873" y="1054316"/>
                  </a:lnTo>
                  <a:lnTo>
                    <a:pt x="1285873" y="1057469"/>
                  </a:lnTo>
                  <a:lnTo>
                    <a:pt x="1284286" y="1061411"/>
                  </a:lnTo>
                  <a:lnTo>
                    <a:pt x="1282698" y="1064564"/>
                  </a:lnTo>
                  <a:lnTo>
                    <a:pt x="1281111" y="1067717"/>
                  </a:lnTo>
                  <a:lnTo>
                    <a:pt x="1281111" y="1072447"/>
                  </a:lnTo>
                  <a:lnTo>
                    <a:pt x="1277936" y="1074811"/>
                  </a:lnTo>
                  <a:lnTo>
                    <a:pt x="1274761" y="1077964"/>
                  </a:lnTo>
                  <a:lnTo>
                    <a:pt x="1271586" y="1079541"/>
                  </a:lnTo>
                  <a:lnTo>
                    <a:pt x="1269204" y="1081118"/>
                  </a:lnTo>
                  <a:lnTo>
                    <a:pt x="1266029" y="1082694"/>
                  </a:lnTo>
                  <a:lnTo>
                    <a:pt x="1262854" y="1084271"/>
                  </a:lnTo>
                  <a:lnTo>
                    <a:pt x="1258092" y="1084271"/>
                  </a:lnTo>
                  <a:lnTo>
                    <a:pt x="1255711" y="1085847"/>
                  </a:lnTo>
                  <a:lnTo>
                    <a:pt x="1252536" y="1085847"/>
                  </a:lnTo>
                  <a:lnTo>
                    <a:pt x="1247773" y="1085847"/>
                  </a:lnTo>
                  <a:lnTo>
                    <a:pt x="1244598" y="1085847"/>
                  </a:lnTo>
                  <a:lnTo>
                    <a:pt x="1243011" y="1085847"/>
                  </a:lnTo>
                  <a:lnTo>
                    <a:pt x="1240629" y="1085847"/>
                  </a:lnTo>
                  <a:lnTo>
                    <a:pt x="1239042" y="1085847"/>
                  </a:lnTo>
                  <a:lnTo>
                    <a:pt x="1158873" y="1029091"/>
                  </a:lnTo>
                  <a:lnTo>
                    <a:pt x="1157285" y="1027515"/>
                  </a:lnTo>
                  <a:lnTo>
                    <a:pt x="1157285" y="1025938"/>
                  </a:lnTo>
                  <a:lnTo>
                    <a:pt x="1155698" y="1022785"/>
                  </a:lnTo>
                  <a:lnTo>
                    <a:pt x="1155698" y="1019632"/>
                  </a:lnTo>
                  <a:lnTo>
                    <a:pt x="1154110" y="1016479"/>
                  </a:lnTo>
                  <a:lnTo>
                    <a:pt x="1154110" y="1012538"/>
                  </a:lnTo>
                  <a:lnTo>
                    <a:pt x="1154110" y="1007808"/>
                  </a:lnTo>
                  <a:lnTo>
                    <a:pt x="1155698" y="1003078"/>
                  </a:lnTo>
                  <a:lnTo>
                    <a:pt x="1155698" y="997560"/>
                  </a:lnTo>
                  <a:lnTo>
                    <a:pt x="1158873" y="992831"/>
                  </a:lnTo>
                  <a:lnTo>
                    <a:pt x="1162048" y="988101"/>
                  </a:lnTo>
                  <a:lnTo>
                    <a:pt x="1166017" y="984160"/>
                  </a:lnTo>
                  <a:lnTo>
                    <a:pt x="1167604" y="982583"/>
                  </a:lnTo>
                  <a:lnTo>
                    <a:pt x="1172367" y="981007"/>
                  </a:lnTo>
                  <a:lnTo>
                    <a:pt x="1175542" y="977853"/>
                  </a:lnTo>
                  <a:lnTo>
                    <a:pt x="1178717" y="976277"/>
                  </a:lnTo>
                  <a:lnTo>
                    <a:pt x="1182685" y="974700"/>
                  </a:lnTo>
                  <a:lnTo>
                    <a:pt x="1187448" y="973124"/>
                  </a:lnTo>
                  <a:close/>
                  <a:moveTo>
                    <a:pt x="342104" y="971547"/>
                  </a:moveTo>
                  <a:lnTo>
                    <a:pt x="346866" y="971547"/>
                  </a:lnTo>
                  <a:lnTo>
                    <a:pt x="350835" y="973124"/>
                  </a:lnTo>
                  <a:lnTo>
                    <a:pt x="355598" y="974700"/>
                  </a:lnTo>
                  <a:lnTo>
                    <a:pt x="360360" y="976277"/>
                  </a:lnTo>
                  <a:lnTo>
                    <a:pt x="364329" y="977853"/>
                  </a:lnTo>
                  <a:lnTo>
                    <a:pt x="367504" y="981007"/>
                  </a:lnTo>
                  <a:lnTo>
                    <a:pt x="370679" y="982583"/>
                  </a:lnTo>
                  <a:lnTo>
                    <a:pt x="373854" y="984160"/>
                  </a:lnTo>
                  <a:lnTo>
                    <a:pt x="377029" y="988101"/>
                  </a:lnTo>
                  <a:lnTo>
                    <a:pt x="380998" y="992831"/>
                  </a:lnTo>
                  <a:lnTo>
                    <a:pt x="382585" y="997560"/>
                  </a:lnTo>
                  <a:lnTo>
                    <a:pt x="384173" y="1003078"/>
                  </a:lnTo>
                  <a:lnTo>
                    <a:pt x="384173" y="1007808"/>
                  </a:lnTo>
                  <a:lnTo>
                    <a:pt x="385760" y="1012538"/>
                  </a:lnTo>
                  <a:lnTo>
                    <a:pt x="384173" y="1016479"/>
                  </a:lnTo>
                  <a:lnTo>
                    <a:pt x="384173" y="1019632"/>
                  </a:lnTo>
                  <a:lnTo>
                    <a:pt x="382585" y="1022785"/>
                  </a:lnTo>
                  <a:lnTo>
                    <a:pt x="382585" y="1025938"/>
                  </a:lnTo>
                  <a:lnTo>
                    <a:pt x="382585" y="1027515"/>
                  </a:lnTo>
                  <a:lnTo>
                    <a:pt x="382585" y="1029091"/>
                  </a:lnTo>
                  <a:lnTo>
                    <a:pt x="302416" y="1085847"/>
                  </a:lnTo>
                  <a:lnTo>
                    <a:pt x="300035" y="1085847"/>
                  </a:lnTo>
                  <a:lnTo>
                    <a:pt x="296860" y="1085847"/>
                  </a:lnTo>
                  <a:lnTo>
                    <a:pt x="290510" y="1085847"/>
                  </a:lnTo>
                  <a:lnTo>
                    <a:pt x="285748" y="1085847"/>
                  </a:lnTo>
                  <a:lnTo>
                    <a:pt x="281779" y="1084271"/>
                  </a:lnTo>
                  <a:lnTo>
                    <a:pt x="278604" y="1084271"/>
                  </a:lnTo>
                  <a:lnTo>
                    <a:pt x="275429" y="1082694"/>
                  </a:lnTo>
                  <a:lnTo>
                    <a:pt x="272254" y="1081118"/>
                  </a:lnTo>
                  <a:lnTo>
                    <a:pt x="268285" y="1079541"/>
                  </a:lnTo>
                  <a:lnTo>
                    <a:pt x="266698" y="1077964"/>
                  </a:lnTo>
                  <a:lnTo>
                    <a:pt x="263523" y="1074811"/>
                  </a:lnTo>
                  <a:lnTo>
                    <a:pt x="261935" y="1072447"/>
                  </a:lnTo>
                  <a:lnTo>
                    <a:pt x="258760" y="1067717"/>
                  </a:lnTo>
                  <a:lnTo>
                    <a:pt x="257173" y="1064564"/>
                  </a:lnTo>
                  <a:lnTo>
                    <a:pt x="257173" y="1061411"/>
                  </a:lnTo>
                  <a:lnTo>
                    <a:pt x="255585" y="1057469"/>
                  </a:lnTo>
                  <a:lnTo>
                    <a:pt x="255585" y="1054316"/>
                  </a:lnTo>
                  <a:lnTo>
                    <a:pt x="255585" y="1051163"/>
                  </a:lnTo>
                  <a:lnTo>
                    <a:pt x="255585" y="1046433"/>
                  </a:lnTo>
                  <a:lnTo>
                    <a:pt x="255585" y="1044857"/>
                  </a:lnTo>
                  <a:lnTo>
                    <a:pt x="255585" y="1039339"/>
                  </a:lnTo>
                  <a:lnTo>
                    <a:pt x="257173" y="1036186"/>
                  </a:lnTo>
                  <a:lnTo>
                    <a:pt x="257173" y="1031456"/>
                  </a:lnTo>
                  <a:lnTo>
                    <a:pt x="258760" y="1031456"/>
                  </a:lnTo>
                  <a:close/>
                  <a:moveTo>
                    <a:pt x="205445" y="739772"/>
                  </a:moveTo>
                  <a:lnTo>
                    <a:pt x="304122" y="739772"/>
                  </a:lnTo>
                  <a:lnTo>
                    <a:pt x="305701" y="739772"/>
                  </a:lnTo>
                  <a:lnTo>
                    <a:pt x="310437" y="744429"/>
                  </a:lnTo>
                  <a:lnTo>
                    <a:pt x="313595" y="745981"/>
                  </a:lnTo>
                  <a:lnTo>
                    <a:pt x="315963" y="749086"/>
                  </a:lnTo>
                  <a:lnTo>
                    <a:pt x="317542" y="752190"/>
                  </a:lnTo>
                  <a:lnTo>
                    <a:pt x="322279" y="757623"/>
                  </a:lnTo>
                  <a:lnTo>
                    <a:pt x="322279" y="762279"/>
                  </a:lnTo>
                  <a:lnTo>
                    <a:pt x="325436" y="766936"/>
                  </a:lnTo>
                  <a:lnTo>
                    <a:pt x="323857" y="772369"/>
                  </a:lnTo>
                  <a:lnTo>
                    <a:pt x="323857" y="778578"/>
                  </a:lnTo>
                  <a:lnTo>
                    <a:pt x="322279" y="781682"/>
                  </a:lnTo>
                  <a:lnTo>
                    <a:pt x="322279" y="784787"/>
                  </a:lnTo>
                  <a:lnTo>
                    <a:pt x="320700" y="787115"/>
                  </a:lnTo>
                  <a:lnTo>
                    <a:pt x="317542" y="791772"/>
                  </a:lnTo>
                  <a:lnTo>
                    <a:pt x="315963" y="794876"/>
                  </a:lnTo>
                  <a:lnTo>
                    <a:pt x="313595" y="799533"/>
                  </a:lnTo>
                  <a:lnTo>
                    <a:pt x="310437" y="803413"/>
                  </a:lnTo>
                  <a:lnTo>
                    <a:pt x="307280" y="806518"/>
                  </a:lnTo>
                  <a:lnTo>
                    <a:pt x="205445" y="809622"/>
                  </a:lnTo>
                  <a:lnTo>
                    <a:pt x="203866" y="808070"/>
                  </a:lnTo>
                  <a:lnTo>
                    <a:pt x="200709" y="806518"/>
                  </a:lnTo>
                  <a:lnTo>
                    <a:pt x="197551" y="803413"/>
                  </a:lnTo>
                  <a:lnTo>
                    <a:pt x="193604" y="800309"/>
                  </a:lnTo>
                  <a:lnTo>
                    <a:pt x="190446" y="794876"/>
                  </a:lnTo>
                  <a:lnTo>
                    <a:pt x="185710" y="788667"/>
                  </a:lnTo>
                  <a:lnTo>
                    <a:pt x="184131" y="785563"/>
                  </a:lnTo>
                  <a:lnTo>
                    <a:pt x="182552" y="783234"/>
                  </a:lnTo>
                  <a:lnTo>
                    <a:pt x="180973" y="778578"/>
                  </a:lnTo>
                  <a:lnTo>
                    <a:pt x="180973" y="775473"/>
                  </a:lnTo>
                  <a:lnTo>
                    <a:pt x="180973" y="770817"/>
                  </a:lnTo>
                  <a:lnTo>
                    <a:pt x="180973" y="766936"/>
                  </a:lnTo>
                  <a:lnTo>
                    <a:pt x="182552" y="763832"/>
                  </a:lnTo>
                  <a:lnTo>
                    <a:pt x="184131" y="760727"/>
                  </a:lnTo>
                  <a:lnTo>
                    <a:pt x="187289" y="755294"/>
                  </a:lnTo>
                  <a:lnTo>
                    <a:pt x="193604" y="749086"/>
                  </a:lnTo>
                  <a:lnTo>
                    <a:pt x="195972" y="744429"/>
                  </a:lnTo>
                  <a:lnTo>
                    <a:pt x="202287" y="741324"/>
                  </a:lnTo>
                  <a:close/>
                  <a:moveTo>
                    <a:pt x="1237454" y="441322"/>
                  </a:moveTo>
                  <a:lnTo>
                    <a:pt x="1239042" y="441322"/>
                  </a:lnTo>
                  <a:lnTo>
                    <a:pt x="1241423" y="441322"/>
                  </a:lnTo>
                  <a:lnTo>
                    <a:pt x="1243011" y="441322"/>
                  </a:lnTo>
                  <a:lnTo>
                    <a:pt x="1246186" y="441322"/>
                  </a:lnTo>
                  <a:lnTo>
                    <a:pt x="1249361" y="441322"/>
                  </a:lnTo>
                  <a:lnTo>
                    <a:pt x="1254123" y="441322"/>
                  </a:lnTo>
                  <a:lnTo>
                    <a:pt x="1256504" y="441322"/>
                  </a:lnTo>
                  <a:lnTo>
                    <a:pt x="1259679" y="442910"/>
                  </a:lnTo>
                  <a:lnTo>
                    <a:pt x="1262854" y="442910"/>
                  </a:lnTo>
                  <a:lnTo>
                    <a:pt x="1267617" y="446085"/>
                  </a:lnTo>
                  <a:lnTo>
                    <a:pt x="1270792" y="447672"/>
                  </a:lnTo>
                  <a:lnTo>
                    <a:pt x="1273173" y="449260"/>
                  </a:lnTo>
                  <a:lnTo>
                    <a:pt x="1274761" y="453229"/>
                  </a:lnTo>
                  <a:lnTo>
                    <a:pt x="1277936" y="456404"/>
                  </a:lnTo>
                  <a:lnTo>
                    <a:pt x="1281111" y="462754"/>
                  </a:lnTo>
                  <a:lnTo>
                    <a:pt x="1284286" y="468310"/>
                  </a:lnTo>
                  <a:lnTo>
                    <a:pt x="1284286" y="473072"/>
                  </a:lnTo>
                  <a:lnTo>
                    <a:pt x="1284286" y="476247"/>
                  </a:lnTo>
                  <a:lnTo>
                    <a:pt x="1284286" y="479422"/>
                  </a:lnTo>
                  <a:lnTo>
                    <a:pt x="1285873" y="481804"/>
                  </a:lnTo>
                  <a:lnTo>
                    <a:pt x="1284286" y="488154"/>
                  </a:lnTo>
                  <a:lnTo>
                    <a:pt x="1282698" y="491329"/>
                  </a:lnTo>
                  <a:lnTo>
                    <a:pt x="1281111" y="495297"/>
                  </a:lnTo>
                  <a:lnTo>
                    <a:pt x="1197767" y="557210"/>
                  </a:lnTo>
                  <a:lnTo>
                    <a:pt x="1192210" y="556416"/>
                  </a:lnTo>
                  <a:lnTo>
                    <a:pt x="1187448" y="554829"/>
                  </a:lnTo>
                  <a:lnTo>
                    <a:pt x="1182685" y="553241"/>
                  </a:lnTo>
                  <a:lnTo>
                    <a:pt x="1178717" y="553241"/>
                  </a:lnTo>
                  <a:lnTo>
                    <a:pt x="1175542" y="550066"/>
                  </a:lnTo>
                  <a:lnTo>
                    <a:pt x="1172367" y="548479"/>
                  </a:lnTo>
                  <a:lnTo>
                    <a:pt x="1167604" y="546891"/>
                  </a:lnTo>
                  <a:lnTo>
                    <a:pt x="1166017" y="545304"/>
                  </a:lnTo>
                  <a:lnTo>
                    <a:pt x="1162048" y="541335"/>
                  </a:lnTo>
                  <a:lnTo>
                    <a:pt x="1158873" y="536573"/>
                  </a:lnTo>
                  <a:lnTo>
                    <a:pt x="1155698" y="531810"/>
                  </a:lnTo>
                  <a:lnTo>
                    <a:pt x="1155698" y="527048"/>
                  </a:lnTo>
                  <a:lnTo>
                    <a:pt x="1154110" y="521491"/>
                  </a:lnTo>
                  <a:lnTo>
                    <a:pt x="1154110" y="518316"/>
                  </a:lnTo>
                  <a:lnTo>
                    <a:pt x="1155698" y="513554"/>
                  </a:lnTo>
                  <a:lnTo>
                    <a:pt x="1155698" y="510379"/>
                  </a:lnTo>
                  <a:lnTo>
                    <a:pt x="1155698" y="506410"/>
                  </a:lnTo>
                  <a:lnTo>
                    <a:pt x="1157285" y="504823"/>
                  </a:lnTo>
                  <a:lnTo>
                    <a:pt x="1157285" y="503235"/>
                  </a:lnTo>
                  <a:lnTo>
                    <a:pt x="1158873" y="503235"/>
                  </a:lnTo>
                  <a:close/>
                  <a:moveTo>
                    <a:pt x="274801" y="441322"/>
                  </a:moveTo>
                  <a:lnTo>
                    <a:pt x="279593" y="441322"/>
                  </a:lnTo>
                  <a:lnTo>
                    <a:pt x="285183" y="441322"/>
                  </a:lnTo>
                  <a:lnTo>
                    <a:pt x="289975" y="441322"/>
                  </a:lnTo>
                  <a:lnTo>
                    <a:pt x="294767" y="441322"/>
                  </a:lnTo>
                  <a:lnTo>
                    <a:pt x="296364" y="441322"/>
                  </a:lnTo>
                  <a:lnTo>
                    <a:pt x="377025" y="503235"/>
                  </a:lnTo>
                  <a:lnTo>
                    <a:pt x="377025" y="504823"/>
                  </a:lnTo>
                  <a:lnTo>
                    <a:pt x="377025" y="506410"/>
                  </a:lnTo>
                  <a:lnTo>
                    <a:pt x="377823" y="510379"/>
                  </a:lnTo>
                  <a:lnTo>
                    <a:pt x="377823" y="513554"/>
                  </a:lnTo>
                  <a:lnTo>
                    <a:pt x="377823" y="518316"/>
                  </a:lnTo>
                  <a:lnTo>
                    <a:pt x="377823" y="521491"/>
                  </a:lnTo>
                  <a:lnTo>
                    <a:pt x="377823" y="527048"/>
                  </a:lnTo>
                  <a:lnTo>
                    <a:pt x="377025" y="531810"/>
                  </a:lnTo>
                  <a:lnTo>
                    <a:pt x="373830" y="536573"/>
                  </a:lnTo>
                  <a:lnTo>
                    <a:pt x="370636" y="541335"/>
                  </a:lnTo>
                  <a:lnTo>
                    <a:pt x="367441" y="545304"/>
                  </a:lnTo>
                  <a:lnTo>
                    <a:pt x="364247" y="546891"/>
                  </a:lnTo>
                  <a:lnTo>
                    <a:pt x="360254" y="548479"/>
                  </a:lnTo>
                  <a:lnTo>
                    <a:pt x="357059" y="550066"/>
                  </a:lnTo>
                  <a:lnTo>
                    <a:pt x="353865" y="553241"/>
                  </a:lnTo>
                  <a:lnTo>
                    <a:pt x="349073" y="553241"/>
                  </a:lnTo>
                  <a:lnTo>
                    <a:pt x="345080" y="554829"/>
                  </a:lnTo>
                  <a:lnTo>
                    <a:pt x="340288" y="556416"/>
                  </a:lnTo>
                  <a:lnTo>
                    <a:pt x="335496" y="557210"/>
                  </a:lnTo>
                  <a:lnTo>
                    <a:pt x="252440" y="495297"/>
                  </a:lnTo>
                  <a:lnTo>
                    <a:pt x="250843" y="495297"/>
                  </a:lnTo>
                  <a:lnTo>
                    <a:pt x="249245" y="491329"/>
                  </a:lnTo>
                  <a:lnTo>
                    <a:pt x="249245" y="488154"/>
                  </a:lnTo>
                  <a:lnTo>
                    <a:pt x="249245" y="481804"/>
                  </a:lnTo>
                  <a:lnTo>
                    <a:pt x="247648" y="479422"/>
                  </a:lnTo>
                  <a:lnTo>
                    <a:pt x="247648" y="476247"/>
                  </a:lnTo>
                  <a:lnTo>
                    <a:pt x="247648" y="473072"/>
                  </a:lnTo>
                  <a:lnTo>
                    <a:pt x="249245" y="468310"/>
                  </a:lnTo>
                  <a:lnTo>
                    <a:pt x="250843" y="462754"/>
                  </a:lnTo>
                  <a:lnTo>
                    <a:pt x="253239" y="456404"/>
                  </a:lnTo>
                  <a:lnTo>
                    <a:pt x="256433" y="453229"/>
                  </a:lnTo>
                  <a:lnTo>
                    <a:pt x="258030" y="449260"/>
                  </a:lnTo>
                  <a:lnTo>
                    <a:pt x="261225" y="447672"/>
                  </a:lnTo>
                  <a:lnTo>
                    <a:pt x="264419" y="446085"/>
                  </a:lnTo>
                  <a:lnTo>
                    <a:pt x="267614" y="442910"/>
                  </a:lnTo>
                  <a:lnTo>
                    <a:pt x="271607" y="442910"/>
                  </a:lnTo>
                  <a:close/>
                  <a:moveTo>
                    <a:pt x="1041521" y="423860"/>
                  </a:moveTo>
                  <a:lnTo>
                    <a:pt x="1044691" y="423860"/>
                  </a:lnTo>
                  <a:lnTo>
                    <a:pt x="1047861" y="423860"/>
                  </a:lnTo>
                  <a:lnTo>
                    <a:pt x="1051030" y="425445"/>
                  </a:lnTo>
                  <a:lnTo>
                    <a:pt x="1056577" y="427030"/>
                  </a:lnTo>
                  <a:lnTo>
                    <a:pt x="1061332" y="430199"/>
                  </a:lnTo>
                  <a:lnTo>
                    <a:pt x="1067671" y="433368"/>
                  </a:lnTo>
                  <a:lnTo>
                    <a:pt x="1074803" y="435745"/>
                  </a:lnTo>
                  <a:lnTo>
                    <a:pt x="1081143" y="440499"/>
                  </a:lnTo>
                  <a:lnTo>
                    <a:pt x="1086690" y="445254"/>
                  </a:lnTo>
                  <a:lnTo>
                    <a:pt x="1089860" y="448423"/>
                  </a:lnTo>
                  <a:lnTo>
                    <a:pt x="1093030" y="450800"/>
                  </a:lnTo>
                  <a:lnTo>
                    <a:pt x="1096199" y="453969"/>
                  </a:lnTo>
                  <a:lnTo>
                    <a:pt x="1099369" y="458723"/>
                  </a:lnTo>
                  <a:lnTo>
                    <a:pt x="1101746" y="461893"/>
                  </a:lnTo>
                  <a:lnTo>
                    <a:pt x="1103331" y="464270"/>
                  </a:lnTo>
                  <a:lnTo>
                    <a:pt x="1106501" y="469024"/>
                  </a:lnTo>
                  <a:lnTo>
                    <a:pt x="1109671" y="475363"/>
                  </a:lnTo>
                  <a:lnTo>
                    <a:pt x="1109671" y="479324"/>
                  </a:lnTo>
                  <a:lnTo>
                    <a:pt x="1112840" y="484078"/>
                  </a:lnTo>
                  <a:lnTo>
                    <a:pt x="1114425" y="490417"/>
                  </a:lnTo>
                  <a:lnTo>
                    <a:pt x="1116010" y="497548"/>
                  </a:lnTo>
                  <a:lnTo>
                    <a:pt x="881703" y="714372"/>
                  </a:lnTo>
                  <a:lnTo>
                    <a:pt x="1353360" y="714372"/>
                  </a:lnTo>
                  <a:lnTo>
                    <a:pt x="1354946" y="715943"/>
                  </a:lnTo>
                  <a:lnTo>
                    <a:pt x="1359703" y="720655"/>
                  </a:lnTo>
                  <a:lnTo>
                    <a:pt x="1361289" y="723797"/>
                  </a:lnTo>
                  <a:lnTo>
                    <a:pt x="1362875" y="727724"/>
                  </a:lnTo>
                  <a:lnTo>
                    <a:pt x="1365254" y="732436"/>
                  </a:lnTo>
                  <a:lnTo>
                    <a:pt x="1368425" y="737149"/>
                  </a:lnTo>
                  <a:lnTo>
                    <a:pt x="1368425" y="742647"/>
                  </a:lnTo>
                  <a:lnTo>
                    <a:pt x="1370011" y="748930"/>
                  </a:lnTo>
                  <a:lnTo>
                    <a:pt x="1368425" y="755213"/>
                  </a:lnTo>
                  <a:lnTo>
                    <a:pt x="1368425" y="760711"/>
                  </a:lnTo>
                  <a:lnTo>
                    <a:pt x="1366840" y="763852"/>
                  </a:lnTo>
                  <a:lnTo>
                    <a:pt x="1365254" y="768565"/>
                  </a:lnTo>
                  <a:lnTo>
                    <a:pt x="1364461" y="770921"/>
                  </a:lnTo>
                  <a:lnTo>
                    <a:pt x="1362875" y="774063"/>
                  </a:lnTo>
                  <a:lnTo>
                    <a:pt x="1359703" y="778775"/>
                  </a:lnTo>
                  <a:lnTo>
                    <a:pt x="1356532" y="781917"/>
                  </a:lnTo>
                  <a:lnTo>
                    <a:pt x="1353360" y="785058"/>
                  </a:lnTo>
                  <a:lnTo>
                    <a:pt x="1348602" y="788985"/>
                  </a:lnTo>
                  <a:lnTo>
                    <a:pt x="848977" y="788985"/>
                  </a:lnTo>
                  <a:lnTo>
                    <a:pt x="848449" y="790814"/>
                  </a:lnTo>
                  <a:lnTo>
                    <a:pt x="845249" y="795558"/>
                  </a:lnTo>
                  <a:lnTo>
                    <a:pt x="843649" y="798720"/>
                  </a:lnTo>
                  <a:lnTo>
                    <a:pt x="840449" y="802674"/>
                  </a:lnTo>
                  <a:lnTo>
                    <a:pt x="839649" y="807418"/>
                  </a:lnTo>
                  <a:lnTo>
                    <a:pt x="836449" y="810580"/>
                  </a:lnTo>
                  <a:lnTo>
                    <a:pt x="833250" y="815324"/>
                  </a:lnTo>
                  <a:lnTo>
                    <a:pt x="830050" y="817696"/>
                  </a:lnTo>
                  <a:lnTo>
                    <a:pt x="826850" y="822440"/>
                  </a:lnTo>
                  <a:lnTo>
                    <a:pt x="822850" y="825603"/>
                  </a:lnTo>
                  <a:lnTo>
                    <a:pt x="818051" y="828765"/>
                  </a:lnTo>
                  <a:lnTo>
                    <a:pt x="814851" y="831137"/>
                  </a:lnTo>
                  <a:lnTo>
                    <a:pt x="811651" y="834300"/>
                  </a:lnTo>
                  <a:lnTo>
                    <a:pt x="807651" y="837463"/>
                  </a:lnTo>
                  <a:lnTo>
                    <a:pt x="802851" y="840625"/>
                  </a:lnTo>
                  <a:lnTo>
                    <a:pt x="798052" y="842207"/>
                  </a:lnTo>
                  <a:lnTo>
                    <a:pt x="794052" y="843788"/>
                  </a:lnTo>
                  <a:lnTo>
                    <a:pt x="789252" y="845369"/>
                  </a:lnTo>
                  <a:lnTo>
                    <a:pt x="784453" y="846160"/>
                  </a:lnTo>
                  <a:lnTo>
                    <a:pt x="779653" y="847741"/>
                  </a:lnTo>
                  <a:lnTo>
                    <a:pt x="774053" y="849323"/>
                  </a:lnTo>
                  <a:lnTo>
                    <a:pt x="769253" y="850904"/>
                  </a:lnTo>
                  <a:lnTo>
                    <a:pt x="764454" y="850904"/>
                  </a:lnTo>
                  <a:lnTo>
                    <a:pt x="760454" y="852485"/>
                  </a:lnTo>
                  <a:lnTo>
                    <a:pt x="754054" y="852485"/>
                  </a:lnTo>
                  <a:lnTo>
                    <a:pt x="749255" y="852485"/>
                  </a:lnTo>
                  <a:lnTo>
                    <a:pt x="743655" y="850904"/>
                  </a:lnTo>
                  <a:lnTo>
                    <a:pt x="738855" y="850904"/>
                  </a:lnTo>
                  <a:lnTo>
                    <a:pt x="735151" y="849989"/>
                  </a:lnTo>
                  <a:lnTo>
                    <a:pt x="711867" y="871535"/>
                  </a:lnTo>
                  <a:lnTo>
                    <a:pt x="710282" y="871535"/>
                  </a:lnTo>
                  <a:lnTo>
                    <a:pt x="707112" y="871535"/>
                  </a:lnTo>
                  <a:lnTo>
                    <a:pt x="703942" y="871535"/>
                  </a:lnTo>
                  <a:lnTo>
                    <a:pt x="701565" y="871535"/>
                  </a:lnTo>
                  <a:lnTo>
                    <a:pt x="698395" y="871535"/>
                  </a:lnTo>
                  <a:lnTo>
                    <a:pt x="695226" y="871535"/>
                  </a:lnTo>
                  <a:lnTo>
                    <a:pt x="692056" y="869951"/>
                  </a:lnTo>
                  <a:lnTo>
                    <a:pt x="687301" y="868366"/>
                  </a:lnTo>
                  <a:lnTo>
                    <a:pt x="683339" y="866781"/>
                  </a:lnTo>
                  <a:lnTo>
                    <a:pt x="678584" y="865196"/>
                  </a:lnTo>
                  <a:lnTo>
                    <a:pt x="673830" y="862027"/>
                  </a:lnTo>
                  <a:lnTo>
                    <a:pt x="669868" y="859650"/>
                  </a:lnTo>
                  <a:lnTo>
                    <a:pt x="663528" y="854896"/>
                  </a:lnTo>
                  <a:lnTo>
                    <a:pt x="658774" y="850142"/>
                  </a:lnTo>
                  <a:lnTo>
                    <a:pt x="654811" y="845388"/>
                  </a:lnTo>
                  <a:lnTo>
                    <a:pt x="650057" y="839841"/>
                  </a:lnTo>
                  <a:lnTo>
                    <a:pt x="646887" y="833503"/>
                  </a:lnTo>
                  <a:lnTo>
                    <a:pt x="643717" y="829541"/>
                  </a:lnTo>
                  <a:lnTo>
                    <a:pt x="642132" y="824787"/>
                  </a:lnTo>
                  <a:lnTo>
                    <a:pt x="639755" y="820033"/>
                  </a:lnTo>
                  <a:lnTo>
                    <a:pt x="639755" y="816863"/>
                  </a:lnTo>
                  <a:lnTo>
                    <a:pt x="638170" y="814486"/>
                  </a:lnTo>
                  <a:lnTo>
                    <a:pt x="636585" y="809732"/>
                  </a:lnTo>
                  <a:lnTo>
                    <a:pt x="636585" y="806563"/>
                  </a:lnTo>
                  <a:lnTo>
                    <a:pt x="636585" y="803394"/>
                  </a:lnTo>
                  <a:lnTo>
                    <a:pt x="636585" y="801809"/>
                  </a:lnTo>
                  <a:lnTo>
                    <a:pt x="636585" y="799432"/>
                  </a:lnTo>
                  <a:lnTo>
                    <a:pt x="638170" y="799432"/>
                  </a:lnTo>
                  <a:lnTo>
                    <a:pt x="649389" y="788985"/>
                  </a:lnTo>
                  <a:lnTo>
                    <a:pt x="629421" y="788985"/>
                  </a:lnTo>
                  <a:lnTo>
                    <a:pt x="627835" y="787414"/>
                  </a:lnTo>
                  <a:lnTo>
                    <a:pt x="626250" y="787414"/>
                  </a:lnTo>
                  <a:lnTo>
                    <a:pt x="622285" y="785058"/>
                  </a:lnTo>
                  <a:lnTo>
                    <a:pt x="619113" y="781917"/>
                  </a:lnTo>
                  <a:lnTo>
                    <a:pt x="615942" y="777204"/>
                  </a:lnTo>
                  <a:lnTo>
                    <a:pt x="612770" y="770921"/>
                  </a:lnTo>
                  <a:lnTo>
                    <a:pt x="611184" y="768565"/>
                  </a:lnTo>
                  <a:lnTo>
                    <a:pt x="609598" y="763852"/>
                  </a:lnTo>
                  <a:lnTo>
                    <a:pt x="609598" y="759140"/>
                  </a:lnTo>
                  <a:lnTo>
                    <a:pt x="609598" y="755213"/>
                  </a:lnTo>
                  <a:lnTo>
                    <a:pt x="609598" y="748930"/>
                  </a:lnTo>
                  <a:lnTo>
                    <a:pt x="609598" y="745788"/>
                  </a:lnTo>
                  <a:lnTo>
                    <a:pt x="611184" y="739505"/>
                  </a:lnTo>
                  <a:lnTo>
                    <a:pt x="612770" y="737149"/>
                  </a:lnTo>
                  <a:lnTo>
                    <a:pt x="614356" y="732436"/>
                  </a:lnTo>
                  <a:lnTo>
                    <a:pt x="617527" y="729295"/>
                  </a:lnTo>
                  <a:lnTo>
                    <a:pt x="619113" y="726153"/>
                  </a:lnTo>
                  <a:lnTo>
                    <a:pt x="622285" y="724582"/>
                  </a:lnTo>
                  <a:lnTo>
                    <a:pt x="626250" y="720655"/>
                  </a:lnTo>
                  <a:lnTo>
                    <a:pt x="631007" y="717514"/>
                  </a:lnTo>
                  <a:lnTo>
                    <a:pt x="634179" y="714372"/>
                  </a:lnTo>
                  <a:lnTo>
                    <a:pt x="635765" y="714372"/>
                  </a:lnTo>
                  <a:lnTo>
                    <a:pt x="658508" y="714372"/>
                  </a:lnTo>
                  <a:lnTo>
                    <a:pt x="659660" y="710957"/>
                  </a:lnTo>
                  <a:lnTo>
                    <a:pt x="661260" y="707004"/>
                  </a:lnTo>
                  <a:lnTo>
                    <a:pt x="662860" y="702260"/>
                  </a:lnTo>
                  <a:lnTo>
                    <a:pt x="666059" y="697516"/>
                  </a:lnTo>
                  <a:lnTo>
                    <a:pt x="669259" y="693562"/>
                  </a:lnTo>
                  <a:lnTo>
                    <a:pt x="671659" y="690400"/>
                  </a:lnTo>
                  <a:lnTo>
                    <a:pt x="674859" y="685656"/>
                  </a:lnTo>
                  <a:lnTo>
                    <a:pt x="678059" y="682493"/>
                  </a:lnTo>
                  <a:lnTo>
                    <a:pt x="681259" y="679330"/>
                  </a:lnTo>
                  <a:lnTo>
                    <a:pt x="684458" y="675377"/>
                  </a:lnTo>
                  <a:lnTo>
                    <a:pt x="688458" y="672214"/>
                  </a:lnTo>
                  <a:lnTo>
                    <a:pt x="691658" y="669052"/>
                  </a:lnTo>
                  <a:lnTo>
                    <a:pt x="696458" y="665889"/>
                  </a:lnTo>
                  <a:lnTo>
                    <a:pt x="701257" y="663517"/>
                  </a:lnTo>
                  <a:lnTo>
                    <a:pt x="705257" y="661936"/>
                  </a:lnTo>
                  <a:lnTo>
                    <a:pt x="710057" y="658773"/>
                  </a:lnTo>
                  <a:lnTo>
                    <a:pt x="714857" y="657192"/>
                  </a:lnTo>
                  <a:lnTo>
                    <a:pt x="718856" y="655611"/>
                  </a:lnTo>
                  <a:lnTo>
                    <a:pt x="723656" y="654029"/>
                  </a:lnTo>
                  <a:lnTo>
                    <a:pt x="728456" y="652448"/>
                  </a:lnTo>
                  <a:lnTo>
                    <a:pt x="732456" y="650867"/>
                  </a:lnTo>
                  <a:lnTo>
                    <a:pt x="738855" y="650867"/>
                  </a:lnTo>
                  <a:lnTo>
                    <a:pt x="743655" y="649285"/>
                  </a:lnTo>
                  <a:lnTo>
                    <a:pt x="749255" y="649285"/>
                  </a:lnTo>
                  <a:lnTo>
                    <a:pt x="754054" y="649285"/>
                  </a:lnTo>
                  <a:lnTo>
                    <a:pt x="760454" y="649285"/>
                  </a:lnTo>
                  <a:lnTo>
                    <a:pt x="764454" y="649285"/>
                  </a:lnTo>
                  <a:lnTo>
                    <a:pt x="769253" y="650867"/>
                  </a:lnTo>
                  <a:lnTo>
                    <a:pt x="774053" y="650867"/>
                  </a:lnTo>
                  <a:lnTo>
                    <a:pt x="779653" y="652448"/>
                  </a:lnTo>
                  <a:lnTo>
                    <a:pt x="784453" y="654029"/>
                  </a:lnTo>
                  <a:lnTo>
                    <a:pt x="789252" y="655611"/>
                  </a:lnTo>
                  <a:lnTo>
                    <a:pt x="791747" y="656432"/>
                  </a:lnTo>
                  <a:close/>
                  <a:moveTo>
                    <a:pt x="1036147" y="241297"/>
                  </a:moveTo>
                  <a:lnTo>
                    <a:pt x="1040088" y="241297"/>
                  </a:lnTo>
                  <a:lnTo>
                    <a:pt x="1043241" y="241297"/>
                  </a:lnTo>
                  <a:lnTo>
                    <a:pt x="1047970" y="241297"/>
                  </a:lnTo>
                  <a:lnTo>
                    <a:pt x="1051123" y="241297"/>
                  </a:lnTo>
                  <a:lnTo>
                    <a:pt x="1054276" y="242894"/>
                  </a:lnTo>
                  <a:lnTo>
                    <a:pt x="1056640" y="244491"/>
                  </a:lnTo>
                  <a:lnTo>
                    <a:pt x="1061370" y="247685"/>
                  </a:lnTo>
                  <a:lnTo>
                    <a:pt x="1066099" y="251678"/>
                  </a:lnTo>
                  <a:lnTo>
                    <a:pt x="1070828" y="258066"/>
                  </a:lnTo>
                  <a:lnTo>
                    <a:pt x="1073193" y="264454"/>
                  </a:lnTo>
                  <a:lnTo>
                    <a:pt x="1076345" y="270043"/>
                  </a:lnTo>
                  <a:lnTo>
                    <a:pt x="1076345" y="274834"/>
                  </a:lnTo>
                  <a:lnTo>
                    <a:pt x="1077922" y="279625"/>
                  </a:lnTo>
                  <a:lnTo>
                    <a:pt x="1077922" y="282021"/>
                  </a:lnTo>
                  <a:lnTo>
                    <a:pt x="1079498" y="283618"/>
                  </a:lnTo>
                  <a:lnTo>
                    <a:pt x="1025112" y="373050"/>
                  </a:lnTo>
                  <a:lnTo>
                    <a:pt x="1019595" y="373050"/>
                  </a:lnTo>
                  <a:lnTo>
                    <a:pt x="1014866" y="374647"/>
                  </a:lnTo>
                  <a:lnTo>
                    <a:pt x="1009348" y="374647"/>
                  </a:lnTo>
                  <a:lnTo>
                    <a:pt x="1006195" y="374647"/>
                  </a:lnTo>
                  <a:lnTo>
                    <a:pt x="1001466" y="374647"/>
                  </a:lnTo>
                  <a:lnTo>
                    <a:pt x="998313" y="373050"/>
                  </a:lnTo>
                  <a:lnTo>
                    <a:pt x="994372" y="373050"/>
                  </a:lnTo>
                  <a:lnTo>
                    <a:pt x="991220" y="373050"/>
                  </a:lnTo>
                  <a:lnTo>
                    <a:pt x="984914" y="370655"/>
                  </a:lnTo>
                  <a:lnTo>
                    <a:pt x="980185" y="367461"/>
                  </a:lnTo>
                  <a:lnTo>
                    <a:pt x="977820" y="364267"/>
                  </a:lnTo>
                  <a:lnTo>
                    <a:pt x="974667" y="359476"/>
                  </a:lnTo>
                  <a:lnTo>
                    <a:pt x="971514" y="355483"/>
                  </a:lnTo>
                  <a:lnTo>
                    <a:pt x="969938" y="350692"/>
                  </a:lnTo>
                  <a:lnTo>
                    <a:pt x="968362" y="347498"/>
                  </a:lnTo>
                  <a:lnTo>
                    <a:pt x="968362" y="342707"/>
                  </a:lnTo>
                  <a:lnTo>
                    <a:pt x="966785" y="338714"/>
                  </a:lnTo>
                  <a:lnTo>
                    <a:pt x="968362" y="335520"/>
                  </a:lnTo>
                  <a:lnTo>
                    <a:pt x="1018018" y="250081"/>
                  </a:lnTo>
                  <a:lnTo>
                    <a:pt x="1019595" y="249282"/>
                  </a:lnTo>
                  <a:lnTo>
                    <a:pt x="1022748" y="247685"/>
                  </a:lnTo>
                  <a:lnTo>
                    <a:pt x="1024324" y="246088"/>
                  </a:lnTo>
                  <a:lnTo>
                    <a:pt x="1026689" y="244491"/>
                  </a:lnTo>
                  <a:lnTo>
                    <a:pt x="1029841" y="242894"/>
                  </a:lnTo>
                  <a:lnTo>
                    <a:pt x="1032994" y="242894"/>
                  </a:lnTo>
                  <a:close/>
                  <a:moveTo>
                    <a:pt x="483192" y="241297"/>
                  </a:moveTo>
                  <a:lnTo>
                    <a:pt x="487132" y="241297"/>
                  </a:lnTo>
                  <a:lnTo>
                    <a:pt x="490284" y="241297"/>
                  </a:lnTo>
                  <a:lnTo>
                    <a:pt x="493436" y="241297"/>
                  </a:lnTo>
                  <a:lnTo>
                    <a:pt x="498165" y="241297"/>
                  </a:lnTo>
                  <a:lnTo>
                    <a:pt x="501317" y="242894"/>
                  </a:lnTo>
                  <a:lnTo>
                    <a:pt x="506833" y="244491"/>
                  </a:lnTo>
                  <a:lnTo>
                    <a:pt x="511561" y="247685"/>
                  </a:lnTo>
                  <a:lnTo>
                    <a:pt x="514713" y="249282"/>
                  </a:lnTo>
                  <a:lnTo>
                    <a:pt x="517078" y="250081"/>
                  </a:lnTo>
                  <a:lnTo>
                    <a:pt x="565148" y="335520"/>
                  </a:lnTo>
                  <a:lnTo>
                    <a:pt x="565148" y="338714"/>
                  </a:lnTo>
                  <a:lnTo>
                    <a:pt x="565148" y="342707"/>
                  </a:lnTo>
                  <a:lnTo>
                    <a:pt x="563572" y="347498"/>
                  </a:lnTo>
                  <a:lnTo>
                    <a:pt x="562784" y="350692"/>
                  </a:lnTo>
                  <a:lnTo>
                    <a:pt x="561208" y="355483"/>
                  </a:lnTo>
                  <a:lnTo>
                    <a:pt x="559632" y="359476"/>
                  </a:lnTo>
                  <a:lnTo>
                    <a:pt x="554904" y="364267"/>
                  </a:lnTo>
                  <a:lnTo>
                    <a:pt x="551752" y="367461"/>
                  </a:lnTo>
                  <a:lnTo>
                    <a:pt x="546235" y="370655"/>
                  </a:lnTo>
                  <a:lnTo>
                    <a:pt x="541507" y="373050"/>
                  </a:lnTo>
                  <a:lnTo>
                    <a:pt x="538355" y="373050"/>
                  </a:lnTo>
                  <a:lnTo>
                    <a:pt x="533627" y="373050"/>
                  </a:lnTo>
                  <a:lnTo>
                    <a:pt x="529686" y="374647"/>
                  </a:lnTo>
                  <a:lnTo>
                    <a:pt x="526534" y="374647"/>
                  </a:lnTo>
                  <a:lnTo>
                    <a:pt x="521806" y="374647"/>
                  </a:lnTo>
                  <a:lnTo>
                    <a:pt x="517078" y="374647"/>
                  </a:lnTo>
                  <a:lnTo>
                    <a:pt x="513137" y="373050"/>
                  </a:lnTo>
                  <a:lnTo>
                    <a:pt x="506833" y="373050"/>
                  </a:lnTo>
                  <a:lnTo>
                    <a:pt x="455610" y="283618"/>
                  </a:lnTo>
                  <a:lnTo>
                    <a:pt x="455610" y="282021"/>
                  </a:lnTo>
                  <a:lnTo>
                    <a:pt x="455610" y="279625"/>
                  </a:lnTo>
                  <a:lnTo>
                    <a:pt x="455610" y="274834"/>
                  </a:lnTo>
                  <a:lnTo>
                    <a:pt x="457186" y="270043"/>
                  </a:lnTo>
                  <a:lnTo>
                    <a:pt x="458762" y="264454"/>
                  </a:lnTo>
                  <a:lnTo>
                    <a:pt x="461915" y="258066"/>
                  </a:lnTo>
                  <a:lnTo>
                    <a:pt x="466643" y="251678"/>
                  </a:lnTo>
                  <a:lnTo>
                    <a:pt x="472159" y="247685"/>
                  </a:lnTo>
                  <a:lnTo>
                    <a:pt x="475311" y="244491"/>
                  </a:lnTo>
                  <a:lnTo>
                    <a:pt x="480040" y="242894"/>
                  </a:lnTo>
                  <a:close/>
                  <a:moveTo>
                    <a:pt x="749298" y="163510"/>
                  </a:moveTo>
                  <a:lnTo>
                    <a:pt x="754060" y="163510"/>
                  </a:lnTo>
                  <a:lnTo>
                    <a:pt x="758823" y="165089"/>
                  </a:lnTo>
                  <a:lnTo>
                    <a:pt x="761998" y="165089"/>
                  </a:lnTo>
                  <a:lnTo>
                    <a:pt x="764379" y="165089"/>
                  </a:lnTo>
                  <a:lnTo>
                    <a:pt x="769141" y="166668"/>
                  </a:lnTo>
                  <a:lnTo>
                    <a:pt x="772316" y="168247"/>
                  </a:lnTo>
                  <a:lnTo>
                    <a:pt x="777079" y="172983"/>
                  </a:lnTo>
                  <a:lnTo>
                    <a:pt x="782635" y="176930"/>
                  </a:lnTo>
                  <a:lnTo>
                    <a:pt x="785810" y="180088"/>
                  </a:lnTo>
                  <a:lnTo>
                    <a:pt x="788985" y="184824"/>
                  </a:lnTo>
                  <a:lnTo>
                    <a:pt x="792160" y="186403"/>
                  </a:lnTo>
                  <a:lnTo>
                    <a:pt x="792160" y="187982"/>
                  </a:lnTo>
                  <a:lnTo>
                    <a:pt x="792160" y="289817"/>
                  </a:lnTo>
                  <a:lnTo>
                    <a:pt x="785810" y="292974"/>
                  </a:lnTo>
                  <a:lnTo>
                    <a:pt x="782635" y="296132"/>
                  </a:lnTo>
                  <a:lnTo>
                    <a:pt x="778666" y="298500"/>
                  </a:lnTo>
                  <a:lnTo>
                    <a:pt x="775491" y="301658"/>
                  </a:lnTo>
                  <a:lnTo>
                    <a:pt x="770729" y="303237"/>
                  </a:lnTo>
                  <a:lnTo>
                    <a:pt x="767554" y="304815"/>
                  </a:lnTo>
                  <a:lnTo>
                    <a:pt x="764379" y="306394"/>
                  </a:lnTo>
                  <a:lnTo>
                    <a:pt x="761998" y="307973"/>
                  </a:lnTo>
                  <a:lnTo>
                    <a:pt x="754060" y="307973"/>
                  </a:lnTo>
                  <a:lnTo>
                    <a:pt x="749298" y="307973"/>
                  </a:lnTo>
                  <a:lnTo>
                    <a:pt x="743741" y="304815"/>
                  </a:lnTo>
                  <a:lnTo>
                    <a:pt x="740566" y="304815"/>
                  </a:lnTo>
                  <a:lnTo>
                    <a:pt x="734216" y="301658"/>
                  </a:lnTo>
                  <a:lnTo>
                    <a:pt x="731835" y="298500"/>
                  </a:lnTo>
                  <a:lnTo>
                    <a:pt x="728660" y="296132"/>
                  </a:lnTo>
                  <a:lnTo>
                    <a:pt x="727073" y="292974"/>
                  </a:lnTo>
                  <a:lnTo>
                    <a:pt x="722310" y="288238"/>
                  </a:lnTo>
                  <a:lnTo>
                    <a:pt x="722310" y="286659"/>
                  </a:lnTo>
                  <a:lnTo>
                    <a:pt x="722310" y="189561"/>
                  </a:lnTo>
                  <a:lnTo>
                    <a:pt x="722310" y="187982"/>
                  </a:lnTo>
                  <a:lnTo>
                    <a:pt x="723898" y="184824"/>
                  </a:lnTo>
                  <a:lnTo>
                    <a:pt x="727073" y="180088"/>
                  </a:lnTo>
                  <a:lnTo>
                    <a:pt x="731835" y="175351"/>
                  </a:lnTo>
                  <a:lnTo>
                    <a:pt x="737391" y="169825"/>
                  </a:lnTo>
                  <a:lnTo>
                    <a:pt x="743741" y="166668"/>
                  </a:lnTo>
                  <a:lnTo>
                    <a:pt x="746916" y="165089"/>
                  </a:lnTo>
                  <a:close/>
                  <a:moveTo>
                    <a:pt x="759617" y="98006"/>
                  </a:moveTo>
                  <a:cubicBezTo>
                    <a:pt x="394219" y="98006"/>
                    <a:pt x="98006" y="394219"/>
                    <a:pt x="98006" y="759616"/>
                  </a:cubicBezTo>
                  <a:cubicBezTo>
                    <a:pt x="98006" y="1125013"/>
                    <a:pt x="394219" y="1421226"/>
                    <a:pt x="759617" y="1421226"/>
                  </a:cubicBezTo>
                  <a:cubicBezTo>
                    <a:pt x="1125015" y="1421226"/>
                    <a:pt x="1421228" y="1125013"/>
                    <a:pt x="1421228" y="759616"/>
                  </a:cubicBezTo>
                  <a:cubicBezTo>
                    <a:pt x="1421228" y="394219"/>
                    <a:pt x="1125015" y="98006"/>
                    <a:pt x="759617" y="98006"/>
                  </a:cubicBezTo>
                  <a:close/>
                  <a:moveTo>
                    <a:pt x="759617" y="0"/>
                  </a:moveTo>
                  <a:cubicBezTo>
                    <a:pt x="1179142" y="0"/>
                    <a:pt x="1519234" y="340092"/>
                    <a:pt x="1519234" y="759616"/>
                  </a:cubicBezTo>
                  <a:cubicBezTo>
                    <a:pt x="1519234" y="1179140"/>
                    <a:pt x="1179142" y="1519232"/>
                    <a:pt x="759617" y="1519232"/>
                  </a:cubicBezTo>
                  <a:cubicBezTo>
                    <a:pt x="340092" y="1519232"/>
                    <a:pt x="0" y="1179140"/>
                    <a:pt x="0" y="759616"/>
                  </a:cubicBezTo>
                  <a:cubicBezTo>
                    <a:pt x="0" y="340092"/>
                    <a:pt x="340092" y="0"/>
                    <a:pt x="759617" y="0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11415727" y="3364989"/>
            <a:ext cx="365125" cy="365125"/>
            <a:chOff x="5516858" y="3348850"/>
            <a:chExt cx="365125" cy="365125"/>
          </a:xfrm>
        </p:grpSpPr>
        <p:sp>
          <p:nvSpPr>
            <p:cNvPr id="70" name="Oval 69"/>
            <p:cNvSpPr/>
            <p:nvPr/>
          </p:nvSpPr>
          <p:spPr>
            <a:xfrm>
              <a:off x="5516858" y="3348850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71" name="Donut 146"/>
            <p:cNvSpPr/>
            <p:nvPr/>
          </p:nvSpPr>
          <p:spPr>
            <a:xfrm>
              <a:off x="5563859" y="3395851"/>
              <a:ext cx="271123" cy="271123"/>
            </a:xfrm>
            <a:custGeom>
              <a:avLst/>
              <a:gdLst/>
              <a:ahLst/>
              <a:cxnLst/>
              <a:rect l="l" t="t" r="r" b="b"/>
              <a:pathLst>
                <a:path w="1519234" h="1519232">
                  <a:moveTo>
                    <a:pt x="749584" y="1231897"/>
                  </a:moveTo>
                  <a:lnTo>
                    <a:pt x="752795" y="1231897"/>
                  </a:lnTo>
                  <a:lnTo>
                    <a:pt x="757611" y="1231897"/>
                  </a:lnTo>
                  <a:lnTo>
                    <a:pt x="762427" y="1231897"/>
                  </a:lnTo>
                  <a:lnTo>
                    <a:pt x="764835" y="1231897"/>
                  </a:lnTo>
                  <a:lnTo>
                    <a:pt x="769651" y="1233476"/>
                  </a:lnTo>
                  <a:lnTo>
                    <a:pt x="772861" y="1235055"/>
                  </a:lnTo>
                  <a:lnTo>
                    <a:pt x="776072" y="1236633"/>
                  </a:lnTo>
                  <a:lnTo>
                    <a:pt x="781691" y="1239791"/>
                  </a:lnTo>
                  <a:lnTo>
                    <a:pt x="786507" y="1244527"/>
                  </a:lnTo>
                  <a:lnTo>
                    <a:pt x="789718" y="1246895"/>
                  </a:lnTo>
                  <a:lnTo>
                    <a:pt x="792928" y="1250053"/>
                  </a:lnTo>
                  <a:lnTo>
                    <a:pt x="794534" y="1253210"/>
                  </a:lnTo>
                  <a:lnTo>
                    <a:pt x="795336" y="1254789"/>
                  </a:lnTo>
                  <a:lnTo>
                    <a:pt x="794534" y="1356617"/>
                  </a:lnTo>
                  <a:lnTo>
                    <a:pt x="789718" y="1359774"/>
                  </a:lnTo>
                  <a:lnTo>
                    <a:pt x="786507" y="1362932"/>
                  </a:lnTo>
                  <a:lnTo>
                    <a:pt x="781691" y="1366089"/>
                  </a:lnTo>
                  <a:lnTo>
                    <a:pt x="779283" y="1368457"/>
                  </a:lnTo>
                  <a:lnTo>
                    <a:pt x="774467" y="1370036"/>
                  </a:lnTo>
                  <a:lnTo>
                    <a:pt x="771256" y="1371615"/>
                  </a:lnTo>
                  <a:lnTo>
                    <a:pt x="768045" y="1373194"/>
                  </a:lnTo>
                  <a:lnTo>
                    <a:pt x="764835" y="1374772"/>
                  </a:lnTo>
                  <a:lnTo>
                    <a:pt x="757611" y="1374772"/>
                  </a:lnTo>
                  <a:lnTo>
                    <a:pt x="752795" y="1374772"/>
                  </a:lnTo>
                  <a:lnTo>
                    <a:pt x="747176" y="1373194"/>
                  </a:lnTo>
                  <a:lnTo>
                    <a:pt x="743965" y="1371615"/>
                  </a:lnTo>
                  <a:lnTo>
                    <a:pt x="737544" y="1368457"/>
                  </a:lnTo>
                  <a:lnTo>
                    <a:pt x="734333" y="1366879"/>
                  </a:lnTo>
                  <a:lnTo>
                    <a:pt x="730320" y="1364510"/>
                  </a:lnTo>
                  <a:lnTo>
                    <a:pt x="728714" y="1361353"/>
                  </a:lnTo>
                  <a:lnTo>
                    <a:pt x="725504" y="1356617"/>
                  </a:lnTo>
                  <a:lnTo>
                    <a:pt x="723898" y="1355038"/>
                  </a:lnTo>
                  <a:lnTo>
                    <a:pt x="723898" y="1254789"/>
                  </a:lnTo>
                  <a:lnTo>
                    <a:pt x="727109" y="1251631"/>
                  </a:lnTo>
                  <a:lnTo>
                    <a:pt x="730320" y="1245316"/>
                  </a:lnTo>
                  <a:lnTo>
                    <a:pt x="734333" y="1242948"/>
                  </a:lnTo>
                  <a:lnTo>
                    <a:pt x="739149" y="1236633"/>
                  </a:lnTo>
                  <a:lnTo>
                    <a:pt x="747176" y="1233476"/>
                  </a:lnTo>
                  <a:close/>
                  <a:moveTo>
                    <a:pt x="995175" y="1155697"/>
                  </a:moveTo>
                  <a:lnTo>
                    <a:pt x="999904" y="1155697"/>
                  </a:lnTo>
                  <a:lnTo>
                    <a:pt x="1003057" y="1155697"/>
                  </a:lnTo>
                  <a:lnTo>
                    <a:pt x="1007787" y="1155697"/>
                  </a:lnTo>
                  <a:lnTo>
                    <a:pt x="1010152" y="1155697"/>
                  </a:lnTo>
                  <a:lnTo>
                    <a:pt x="1016458" y="1155697"/>
                  </a:lnTo>
                  <a:lnTo>
                    <a:pt x="1021188" y="1155697"/>
                  </a:lnTo>
                  <a:lnTo>
                    <a:pt x="1026706" y="1158872"/>
                  </a:lnTo>
                  <a:lnTo>
                    <a:pt x="1082673" y="1247772"/>
                  </a:lnTo>
                  <a:lnTo>
                    <a:pt x="1081097" y="1247772"/>
                  </a:lnTo>
                  <a:lnTo>
                    <a:pt x="1081097" y="1250947"/>
                  </a:lnTo>
                  <a:lnTo>
                    <a:pt x="1081097" y="1254122"/>
                  </a:lnTo>
                  <a:lnTo>
                    <a:pt x="1079520" y="1259678"/>
                  </a:lnTo>
                  <a:lnTo>
                    <a:pt x="1076367" y="1266028"/>
                  </a:lnTo>
                  <a:lnTo>
                    <a:pt x="1074790" y="1272378"/>
                  </a:lnTo>
                  <a:lnTo>
                    <a:pt x="1070849" y="1276347"/>
                  </a:lnTo>
                  <a:lnTo>
                    <a:pt x="1064543" y="1284285"/>
                  </a:lnTo>
                  <a:lnTo>
                    <a:pt x="1061390" y="1284285"/>
                  </a:lnTo>
                  <a:lnTo>
                    <a:pt x="1056660" y="1287460"/>
                  </a:lnTo>
                  <a:lnTo>
                    <a:pt x="1054295" y="1287460"/>
                  </a:lnTo>
                  <a:lnTo>
                    <a:pt x="1051142" y="1289047"/>
                  </a:lnTo>
                  <a:lnTo>
                    <a:pt x="1046413" y="1289047"/>
                  </a:lnTo>
                  <a:lnTo>
                    <a:pt x="1043259" y="1289047"/>
                  </a:lnTo>
                  <a:lnTo>
                    <a:pt x="1039318" y="1287460"/>
                  </a:lnTo>
                  <a:lnTo>
                    <a:pt x="1036165" y="1287460"/>
                  </a:lnTo>
                  <a:lnTo>
                    <a:pt x="1029859" y="1284285"/>
                  </a:lnTo>
                  <a:lnTo>
                    <a:pt x="1025129" y="1282697"/>
                  </a:lnTo>
                  <a:lnTo>
                    <a:pt x="1022764" y="1281110"/>
                  </a:lnTo>
                  <a:lnTo>
                    <a:pt x="1021188" y="1281110"/>
                  </a:lnTo>
                  <a:lnTo>
                    <a:pt x="969950" y="1196972"/>
                  </a:lnTo>
                  <a:lnTo>
                    <a:pt x="968373" y="1195385"/>
                  </a:lnTo>
                  <a:lnTo>
                    <a:pt x="968373" y="1193797"/>
                  </a:lnTo>
                  <a:lnTo>
                    <a:pt x="968373" y="1190622"/>
                  </a:lnTo>
                  <a:lnTo>
                    <a:pt x="969950" y="1187447"/>
                  </a:lnTo>
                  <a:lnTo>
                    <a:pt x="969950" y="1182685"/>
                  </a:lnTo>
                  <a:lnTo>
                    <a:pt x="971526" y="1180303"/>
                  </a:lnTo>
                  <a:lnTo>
                    <a:pt x="973103" y="1175541"/>
                  </a:lnTo>
                  <a:lnTo>
                    <a:pt x="976256" y="1172366"/>
                  </a:lnTo>
                  <a:lnTo>
                    <a:pt x="978621" y="1167603"/>
                  </a:lnTo>
                  <a:lnTo>
                    <a:pt x="981774" y="1163635"/>
                  </a:lnTo>
                  <a:lnTo>
                    <a:pt x="986504" y="1160460"/>
                  </a:lnTo>
                  <a:lnTo>
                    <a:pt x="992810" y="1157285"/>
                  </a:lnTo>
                  <a:close/>
                  <a:moveTo>
                    <a:pt x="517118" y="1155697"/>
                  </a:moveTo>
                  <a:lnTo>
                    <a:pt x="523423" y="1155697"/>
                  </a:lnTo>
                  <a:lnTo>
                    <a:pt x="526575" y="1155697"/>
                  </a:lnTo>
                  <a:lnTo>
                    <a:pt x="532092" y="1155697"/>
                  </a:lnTo>
                  <a:lnTo>
                    <a:pt x="535245" y="1155697"/>
                  </a:lnTo>
                  <a:lnTo>
                    <a:pt x="539973" y="1155697"/>
                  </a:lnTo>
                  <a:lnTo>
                    <a:pt x="543126" y="1155697"/>
                  </a:lnTo>
                  <a:lnTo>
                    <a:pt x="546278" y="1157285"/>
                  </a:lnTo>
                  <a:lnTo>
                    <a:pt x="551795" y="1160460"/>
                  </a:lnTo>
                  <a:lnTo>
                    <a:pt x="556524" y="1163635"/>
                  </a:lnTo>
                  <a:lnTo>
                    <a:pt x="561253" y="1167603"/>
                  </a:lnTo>
                  <a:lnTo>
                    <a:pt x="563617" y="1172366"/>
                  </a:lnTo>
                  <a:lnTo>
                    <a:pt x="565193" y="1175541"/>
                  </a:lnTo>
                  <a:lnTo>
                    <a:pt x="568346" y="1180303"/>
                  </a:lnTo>
                  <a:lnTo>
                    <a:pt x="568346" y="1182685"/>
                  </a:lnTo>
                  <a:lnTo>
                    <a:pt x="569922" y="1187447"/>
                  </a:lnTo>
                  <a:lnTo>
                    <a:pt x="569922" y="1190622"/>
                  </a:lnTo>
                  <a:lnTo>
                    <a:pt x="569922" y="1193797"/>
                  </a:lnTo>
                  <a:lnTo>
                    <a:pt x="569922" y="1195385"/>
                  </a:lnTo>
                  <a:lnTo>
                    <a:pt x="571498" y="1196972"/>
                  </a:lnTo>
                  <a:lnTo>
                    <a:pt x="518694" y="1281110"/>
                  </a:lnTo>
                  <a:lnTo>
                    <a:pt x="517118" y="1281110"/>
                  </a:lnTo>
                  <a:lnTo>
                    <a:pt x="514754" y="1282697"/>
                  </a:lnTo>
                  <a:lnTo>
                    <a:pt x="510025" y="1284285"/>
                  </a:lnTo>
                  <a:lnTo>
                    <a:pt x="503720" y="1287460"/>
                  </a:lnTo>
                  <a:lnTo>
                    <a:pt x="501356" y="1287460"/>
                  </a:lnTo>
                  <a:lnTo>
                    <a:pt x="496627" y="1289047"/>
                  </a:lnTo>
                  <a:lnTo>
                    <a:pt x="493474" y="1289047"/>
                  </a:lnTo>
                  <a:lnTo>
                    <a:pt x="490322" y="1289047"/>
                  </a:lnTo>
                  <a:lnTo>
                    <a:pt x="486381" y="1287460"/>
                  </a:lnTo>
                  <a:lnTo>
                    <a:pt x="483229" y="1287460"/>
                  </a:lnTo>
                  <a:lnTo>
                    <a:pt x="480076" y="1284285"/>
                  </a:lnTo>
                  <a:lnTo>
                    <a:pt x="476924" y="1284285"/>
                  </a:lnTo>
                  <a:lnTo>
                    <a:pt x="470619" y="1276347"/>
                  </a:lnTo>
                  <a:lnTo>
                    <a:pt x="466678" y="1272378"/>
                  </a:lnTo>
                  <a:lnTo>
                    <a:pt x="463526" y="1266028"/>
                  </a:lnTo>
                  <a:lnTo>
                    <a:pt x="461949" y="1259678"/>
                  </a:lnTo>
                  <a:lnTo>
                    <a:pt x="460373" y="1254122"/>
                  </a:lnTo>
                  <a:lnTo>
                    <a:pt x="460373" y="1250947"/>
                  </a:lnTo>
                  <a:lnTo>
                    <a:pt x="460373" y="1247772"/>
                  </a:lnTo>
                  <a:lnTo>
                    <a:pt x="513177" y="1158872"/>
                  </a:lnTo>
                  <a:close/>
                  <a:moveTo>
                    <a:pt x="1192210" y="971547"/>
                  </a:moveTo>
                  <a:lnTo>
                    <a:pt x="1197767" y="971547"/>
                  </a:lnTo>
                  <a:lnTo>
                    <a:pt x="1281111" y="1031456"/>
                  </a:lnTo>
                  <a:lnTo>
                    <a:pt x="1282698" y="1036186"/>
                  </a:lnTo>
                  <a:lnTo>
                    <a:pt x="1284286" y="1039339"/>
                  </a:lnTo>
                  <a:lnTo>
                    <a:pt x="1285873" y="1044857"/>
                  </a:lnTo>
                  <a:lnTo>
                    <a:pt x="1285873" y="1046433"/>
                  </a:lnTo>
                  <a:lnTo>
                    <a:pt x="1285873" y="1051163"/>
                  </a:lnTo>
                  <a:lnTo>
                    <a:pt x="1285873" y="1054316"/>
                  </a:lnTo>
                  <a:lnTo>
                    <a:pt x="1285873" y="1057469"/>
                  </a:lnTo>
                  <a:lnTo>
                    <a:pt x="1284286" y="1061411"/>
                  </a:lnTo>
                  <a:lnTo>
                    <a:pt x="1282698" y="1064564"/>
                  </a:lnTo>
                  <a:lnTo>
                    <a:pt x="1281111" y="1067717"/>
                  </a:lnTo>
                  <a:lnTo>
                    <a:pt x="1281111" y="1072447"/>
                  </a:lnTo>
                  <a:lnTo>
                    <a:pt x="1277936" y="1074811"/>
                  </a:lnTo>
                  <a:lnTo>
                    <a:pt x="1274761" y="1077964"/>
                  </a:lnTo>
                  <a:lnTo>
                    <a:pt x="1271586" y="1079541"/>
                  </a:lnTo>
                  <a:lnTo>
                    <a:pt x="1269204" y="1081118"/>
                  </a:lnTo>
                  <a:lnTo>
                    <a:pt x="1266029" y="1082694"/>
                  </a:lnTo>
                  <a:lnTo>
                    <a:pt x="1262854" y="1084271"/>
                  </a:lnTo>
                  <a:lnTo>
                    <a:pt x="1258092" y="1084271"/>
                  </a:lnTo>
                  <a:lnTo>
                    <a:pt x="1255711" y="1085847"/>
                  </a:lnTo>
                  <a:lnTo>
                    <a:pt x="1252536" y="1085847"/>
                  </a:lnTo>
                  <a:lnTo>
                    <a:pt x="1247773" y="1085847"/>
                  </a:lnTo>
                  <a:lnTo>
                    <a:pt x="1244598" y="1085847"/>
                  </a:lnTo>
                  <a:lnTo>
                    <a:pt x="1243011" y="1085847"/>
                  </a:lnTo>
                  <a:lnTo>
                    <a:pt x="1240629" y="1085847"/>
                  </a:lnTo>
                  <a:lnTo>
                    <a:pt x="1239042" y="1085847"/>
                  </a:lnTo>
                  <a:lnTo>
                    <a:pt x="1158873" y="1029091"/>
                  </a:lnTo>
                  <a:lnTo>
                    <a:pt x="1157285" y="1027515"/>
                  </a:lnTo>
                  <a:lnTo>
                    <a:pt x="1157285" y="1025938"/>
                  </a:lnTo>
                  <a:lnTo>
                    <a:pt x="1155698" y="1022785"/>
                  </a:lnTo>
                  <a:lnTo>
                    <a:pt x="1155698" y="1019632"/>
                  </a:lnTo>
                  <a:lnTo>
                    <a:pt x="1154110" y="1016479"/>
                  </a:lnTo>
                  <a:lnTo>
                    <a:pt x="1154110" y="1012538"/>
                  </a:lnTo>
                  <a:lnTo>
                    <a:pt x="1154110" y="1007808"/>
                  </a:lnTo>
                  <a:lnTo>
                    <a:pt x="1155698" y="1003078"/>
                  </a:lnTo>
                  <a:lnTo>
                    <a:pt x="1155698" y="997560"/>
                  </a:lnTo>
                  <a:lnTo>
                    <a:pt x="1158873" y="992831"/>
                  </a:lnTo>
                  <a:lnTo>
                    <a:pt x="1162048" y="988101"/>
                  </a:lnTo>
                  <a:lnTo>
                    <a:pt x="1166017" y="984160"/>
                  </a:lnTo>
                  <a:lnTo>
                    <a:pt x="1167604" y="982583"/>
                  </a:lnTo>
                  <a:lnTo>
                    <a:pt x="1172367" y="981007"/>
                  </a:lnTo>
                  <a:lnTo>
                    <a:pt x="1175542" y="977853"/>
                  </a:lnTo>
                  <a:lnTo>
                    <a:pt x="1178717" y="976277"/>
                  </a:lnTo>
                  <a:lnTo>
                    <a:pt x="1182685" y="974700"/>
                  </a:lnTo>
                  <a:lnTo>
                    <a:pt x="1187448" y="973124"/>
                  </a:lnTo>
                  <a:close/>
                  <a:moveTo>
                    <a:pt x="342104" y="971547"/>
                  </a:moveTo>
                  <a:lnTo>
                    <a:pt x="346866" y="971547"/>
                  </a:lnTo>
                  <a:lnTo>
                    <a:pt x="350835" y="973124"/>
                  </a:lnTo>
                  <a:lnTo>
                    <a:pt x="355598" y="974700"/>
                  </a:lnTo>
                  <a:lnTo>
                    <a:pt x="360360" y="976277"/>
                  </a:lnTo>
                  <a:lnTo>
                    <a:pt x="364329" y="977853"/>
                  </a:lnTo>
                  <a:lnTo>
                    <a:pt x="367504" y="981007"/>
                  </a:lnTo>
                  <a:lnTo>
                    <a:pt x="370679" y="982583"/>
                  </a:lnTo>
                  <a:lnTo>
                    <a:pt x="373854" y="984160"/>
                  </a:lnTo>
                  <a:lnTo>
                    <a:pt x="377029" y="988101"/>
                  </a:lnTo>
                  <a:lnTo>
                    <a:pt x="380998" y="992831"/>
                  </a:lnTo>
                  <a:lnTo>
                    <a:pt x="382585" y="997560"/>
                  </a:lnTo>
                  <a:lnTo>
                    <a:pt x="384173" y="1003078"/>
                  </a:lnTo>
                  <a:lnTo>
                    <a:pt x="384173" y="1007808"/>
                  </a:lnTo>
                  <a:lnTo>
                    <a:pt x="385760" y="1012538"/>
                  </a:lnTo>
                  <a:lnTo>
                    <a:pt x="384173" y="1016479"/>
                  </a:lnTo>
                  <a:lnTo>
                    <a:pt x="384173" y="1019632"/>
                  </a:lnTo>
                  <a:lnTo>
                    <a:pt x="382585" y="1022785"/>
                  </a:lnTo>
                  <a:lnTo>
                    <a:pt x="382585" y="1025938"/>
                  </a:lnTo>
                  <a:lnTo>
                    <a:pt x="382585" y="1027515"/>
                  </a:lnTo>
                  <a:lnTo>
                    <a:pt x="382585" y="1029091"/>
                  </a:lnTo>
                  <a:lnTo>
                    <a:pt x="302416" y="1085847"/>
                  </a:lnTo>
                  <a:lnTo>
                    <a:pt x="300035" y="1085847"/>
                  </a:lnTo>
                  <a:lnTo>
                    <a:pt x="296860" y="1085847"/>
                  </a:lnTo>
                  <a:lnTo>
                    <a:pt x="290510" y="1085847"/>
                  </a:lnTo>
                  <a:lnTo>
                    <a:pt x="285748" y="1085847"/>
                  </a:lnTo>
                  <a:lnTo>
                    <a:pt x="281779" y="1084271"/>
                  </a:lnTo>
                  <a:lnTo>
                    <a:pt x="278604" y="1084271"/>
                  </a:lnTo>
                  <a:lnTo>
                    <a:pt x="275429" y="1082694"/>
                  </a:lnTo>
                  <a:lnTo>
                    <a:pt x="272254" y="1081118"/>
                  </a:lnTo>
                  <a:lnTo>
                    <a:pt x="268285" y="1079541"/>
                  </a:lnTo>
                  <a:lnTo>
                    <a:pt x="266698" y="1077964"/>
                  </a:lnTo>
                  <a:lnTo>
                    <a:pt x="263523" y="1074811"/>
                  </a:lnTo>
                  <a:lnTo>
                    <a:pt x="261935" y="1072447"/>
                  </a:lnTo>
                  <a:lnTo>
                    <a:pt x="258760" y="1067717"/>
                  </a:lnTo>
                  <a:lnTo>
                    <a:pt x="257173" y="1064564"/>
                  </a:lnTo>
                  <a:lnTo>
                    <a:pt x="257173" y="1061411"/>
                  </a:lnTo>
                  <a:lnTo>
                    <a:pt x="255585" y="1057469"/>
                  </a:lnTo>
                  <a:lnTo>
                    <a:pt x="255585" y="1054316"/>
                  </a:lnTo>
                  <a:lnTo>
                    <a:pt x="255585" y="1051163"/>
                  </a:lnTo>
                  <a:lnTo>
                    <a:pt x="255585" y="1046433"/>
                  </a:lnTo>
                  <a:lnTo>
                    <a:pt x="255585" y="1044857"/>
                  </a:lnTo>
                  <a:lnTo>
                    <a:pt x="255585" y="1039339"/>
                  </a:lnTo>
                  <a:lnTo>
                    <a:pt x="257173" y="1036186"/>
                  </a:lnTo>
                  <a:lnTo>
                    <a:pt x="257173" y="1031456"/>
                  </a:lnTo>
                  <a:lnTo>
                    <a:pt x="258760" y="1031456"/>
                  </a:lnTo>
                  <a:close/>
                  <a:moveTo>
                    <a:pt x="205445" y="739772"/>
                  </a:moveTo>
                  <a:lnTo>
                    <a:pt x="304122" y="739772"/>
                  </a:lnTo>
                  <a:lnTo>
                    <a:pt x="305701" y="739772"/>
                  </a:lnTo>
                  <a:lnTo>
                    <a:pt x="310437" y="744429"/>
                  </a:lnTo>
                  <a:lnTo>
                    <a:pt x="313595" y="745981"/>
                  </a:lnTo>
                  <a:lnTo>
                    <a:pt x="315963" y="749086"/>
                  </a:lnTo>
                  <a:lnTo>
                    <a:pt x="317542" y="752190"/>
                  </a:lnTo>
                  <a:lnTo>
                    <a:pt x="322279" y="757623"/>
                  </a:lnTo>
                  <a:lnTo>
                    <a:pt x="322279" y="762279"/>
                  </a:lnTo>
                  <a:lnTo>
                    <a:pt x="325436" y="766936"/>
                  </a:lnTo>
                  <a:lnTo>
                    <a:pt x="323857" y="772369"/>
                  </a:lnTo>
                  <a:lnTo>
                    <a:pt x="323857" y="778578"/>
                  </a:lnTo>
                  <a:lnTo>
                    <a:pt x="322279" y="781682"/>
                  </a:lnTo>
                  <a:lnTo>
                    <a:pt x="322279" y="784787"/>
                  </a:lnTo>
                  <a:lnTo>
                    <a:pt x="320700" y="787115"/>
                  </a:lnTo>
                  <a:lnTo>
                    <a:pt x="317542" y="791772"/>
                  </a:lnTo>
                  <a:lnTo>
                    <a:pt x="315963" y="794876"/>
                  </a:lnTo>
                  <a:lnTo>
                    <a:pt x="313595" y="799533"/>
                  </a:lnTo>
                  <a:lnTo>
                    <a:pt x="310437" y="803413"/>
                  </a:lnTo>
                  <a:lnTo>
                    <a:pt x="307280" y="806518"/>
                  </a:lnTo>
                  <a:lnTo>
                    <a:pt x="205445" y="809622"/>
                  </a:lnTo>
                  <a:lnTo>
                    <a:pt x="203866" y="808070"/>
                  </a:lnTo>
                  <a:lnTo>
                    <a:pt x="200709" y="806518"/>
                  </a:lnTo>
                  <a:lnTo>
                    <a:pt x="197551" y="803413"/>
                  </a:lnTo>
                  <a:lnTo>
                    <a:pt x="193604" y="800309"/>
                  </a:lnTo>
                  <a:lnTo>
                    <a:pt x="190446" y="794876"/>
                  </a:lnTo>
                  <a:lnTo>
                    <a:pt x="185710" y="788667"/>
                  </a:lnTo>
                  <a:lnTo>
                    <a:pt x="184131" y="785563"/>
                  </a:lnTo>
                  <a:lnTo>
                    <a:pt x="182552" y="783234"/>
                  </a:lnTo>
                  <a:lnTo>
                    <a:pt x="180973" y="778578"/>
                  </a:lnTo>
                  <a:lnTo>
                    <a:pt x="180973" y="775473"/>
                  </a:lnTo>
                  <a:lnTo>
                    <a:pt x="180973" y="770817"/>
                  </a:lnTo>
                  <a:lnTo>
                    <a:pt x="180973" y="766936"/>
                  </a:lnTo>
                  <a:lnTo>
                    <a:pt x="182552" y="763832"/>
                  </a:lnTo>
                  <a:lnTo>
                    <a:pt x="184131" y="760727"/>
                  </a:lnTo>
                  <a:lnTo>
                    <a:pt x="187289" y="755294"/>
                  </a:lnTo>
                  <a:lnTo>
                    <a:pt x="193604" y="749086"/>
                  </a:lnTo>
                  <a:lnTo>
                    <a:pt x="195972" y="744429"/>
                  </a:lnTo>
                  <a:lnTo>
                    <a:pt x="202287" y="741324"/>
                  </a:lnTo>
                  <a:close/>
                  <a:moveTo>
                    <a:pt x="1237454" y="441322"/>
                  </a:moveTo>
                  <a:lnTo>
                    <a:pt x="1239042" y="441322"/>
                  </a:lnTo>
                  <a:lnTo>
                    <a:pt x="1241423" y="441322"/>
                  </a:lnTo>
                  <a:lnTo>
                    <a:pt x="1243011" y="441322"/>
                  </a:lnTo>
                  <a:lnTo>
                    <a:pt x="1246186" y="441322"/>
                  </a:lnTo>
                  <a:lnTo>
                    <a:pt x="1249361" y="441322"/>
                  </a:lnTo>
                  <a:lnTo>
                    <a:pt x="1254123" y="441322"/>
                  </a:lnTo>
                  <a:lnTo>
                    <a:pt x="1256504" y="441322"/>
                  </a:lnTo>
                  <a:lnTo>
                    <a:pt x="1259679" y="442910"/>
                  </a:lnTo>
                  <a:lnTo>
                    <a:pt x="1262854" y="442910"/>
                  </a:lnTo>
                  <a:lnTo>
                    <a:pt x="1267617" y="446085"/>
                  </a:lnTo>
                  <a:lnTo>
                    <a:pt x="1270792" y="447672"/>
                  </a:lnTo>
                  <a:lnTo>
                    <a:pt x="1273173" y="449260"/>
                  </a:lnTo>
                  <a:lnTo>
                    <a:pt x="1274761" y="453229"/>
                  </a:lnTo>
                  <a:lnTo>
                    <a:pt x="1277936" y="456404"/>
                  </a:lnTo>
                  <a:lnTo>
                    <a:pt x="1281111" y="462754"/>
                  </a:lnTo>
                  <a:lnTo>
                    <a:pt x="1284286" y="468310"/>
                  </a:lnTo>
                  <a:lnTo>
                    <a:pt x="1284286" y="473072"/>
                  </a:lnTo>
                  <a:lnTo>
                    <a:pt x="1284286" y="476247"/>
                  </a:lnTo>
                  <a:lnTo>
                    <a:pt x="1284286" y="479422"/>
                  </a:lnTo>
                  <a:lnTo>
                    <a:pt x="1285873" y="481804"/>
                  </a:lnTo>
                  <a:lnTo>
                    <a:pt x="1284286" y="488154"/>
                  </a:lnTo>
                  <a:lnTo>
                    <a:pt x="1282698" y="491329"/>
                  </a:lnTo>
                  <a:lnTo>
                    <a:pt x="1281111" y="495297"/>
                  </a:lnTo>
                  <a:lnTo>
                    <a:pt x="1197767" y="557210"/>
                  </a:lnTo>
                  <a:lnTo>
                    <a:pt x="1192210" y="556416"/>
                  </a:lnTo>
                  <a:lnTo>
                    <a:pt x="1187448" y="554829"/>
                  </a:lnTo>
                  <a:lnTo>
                    <a:pt x="1182685" y="553241"/>
                  </a:lnTo>
                  <a:lnTo>
                    <a:pt x="1178717" y="553241"/>
                  </a:lnTo>
                  <a:lnTo>
                    <a:pt x="1175542" y="550066"/>
                  </a:lnTo>
                  <a:lnTo>
                    <a:pt x="1172367" y="548479"/>
                  </a:lnTo>
                  <a:lnTo>
                    <a:pt x="1167604" y="546891"/>
                  </a:lnTo>
                  <a:lnTo>
                    <a:pt x="1166017" y="545304"/>
                  </a:lnTo>
                  <a:lnTo>
                    <a:pt x="1162048" y="541335"/>
                  </a:lnTo>
                  <a:lnTo>
                    <a:pt x="1158873" y="536573"/>
                  </a:lnTo>
                  <a:lnTo>
                    <a:pt x="1155698" y="531810"/>
                  </a:lnTo>
                  <a:lnTo>
                    <a:pt x="1155698" y="527048"/>
                  </a:lnTo>
                  <a:lnTo>
                    <a:pt x="1154110" y="521491"/>
                  </a:lnTo>
                  <a:lnTo>
                    <a:pt x="1154110" y="518316"/>
                  </a:lnTo>
                  <a:lnTo>
                    <a:pt x="1155698" y="513554"/>
                  </a:lnTo>
                  <a:lnTo>
                    <a:pt x="1155698" y="510379"/>
                  </a:lnTo>
                  <a:lnTo>
                    <a:pt x="1155698" y="506410"/>
                  </a:lnTo>
                  <a:lnTo>
                    <a:pt x="1157285" y="504823"/>
                  </a:lnTo>
                  <a:lnTo>
                    <a:pt x="1157285" y="503235"/>
                  </a:lnTo>
                  <a:lnTo>
                    <a:pt x="1158873" y="503235"/>
                  </a:lnTo>
                  <a:close/>
                  <a:moveTo>
                    <a:pt x="274801" y="441322"/>
                  </a:moveTo>
                  <a:lnTo>
                    <a:pt x="279593" y="441322"/>
                  </a:lnTo>
                  <a:lnTo>
                    <a:pt x="285183" y="441322"/>
                  </a:lnTo>
                  <a:lnTo>
                    <a:pt x="289975" y="441322"/>
                  </a:lnTo>
                  <a:lnTo>
                    <a:pt x="294767" y="441322"/>
                  </a:lnTo>
                  <a:lnTo>
                    <a:pt x="296364" y="441322"/>
                  </a:lnTo>
                  <a:lnTo>
                    <a:pt x="377025" y="503235"/>
                  </a:lnTo>
                  <a:lnTo>
                    <a:pt x="377025" y="504823"/>
                  </a:lnTo>
                  <a:lnTo>
                    <a:pt x="377025" y="506410"/>
                  </a:lnTo>
                  <a:lnTo>
                    <a:pt x="377823" y="510379"/>
                  </a:lnTo>
                  <a:lnTo>
                    <a:pt x="377823" y="513554"/>
                  </a:lnTo>
                  <a:lnTo>
                    <a:pt x="377823" y="518316"/>
                  </a:lnTo>
                  <a:lnTo>
                    <a:pt x="377823" y="521491"/>
                  </a:lnTo>
                  <a:lnTo>
                    <a:pt x="377823" y="527048"/>
                  </a:lnTo>
                  <a:lnTo>
                    <a:pt x="377025" y="531810"/>
                  </a:lnTo>
                  <a:lnTo>
                    <a:pt x="373830" y="536573"/>
                  </a:lnTo>
                  <a:lnTo>
                    <a:pt x="370636" y="541335"/>
                  </a:lnTo>
                  <a:lnTo>
                    <a:pt x="367441" y="545304"/>
                  </a:lnTo>
                  <a:lnTo>
                    <a:pt x="364247" y="546891"/>
                  </a:lnTo>
                  <a:lnTo>
                    <a:pt x="360254" y="548479"/>
                  </a:lnTo>
                  <a:lnTo>
                    <a:pt x="357059" y="550066"/>
                  </a:lnTo>
                  <a:lnTo>
                    <a:pt x="353865" y="553241"/>
                  </a:lnTo>
                  <a:lnTo>
                    <a:pt x="349073" y="553241"/>
                  </a:lnTo>
                  <a:lnTo>
                    <a:pt x="345080" y="554829"/>
                  </a:lnTo>
                  <a:lnTo>
                    <a:pt x="340288" y="556416"/>
                  </a:lnTo>
                  <a:lnTo>
                    <a:pt x="335496" y="557210"/>
                  </a:lnTo>
                  <a:lnTo>
                    <a:pt x="252440" y="495297"/>
                  </a:lnTo>
                  <a:lnTo>
                    <a:pt x="250843" y="495297"/>
                  </a:lnTo>
                  <a:lnTo>
                    <a:pt x="249245" y="491329"/>
                  </a:lnTo>
                  <a:lnTo>
                    <a:pt x="249245" y="488154"/>
                  </a:lnTo>
                  <a:lnTo>
                    <a:pt x="249245" y="481804"/>
                  </a:lnTo>
                  <a:lnTo>
                    <a:pt x="247648" y="479422"/>
                  </a:lnTo>
                  <a:lnTo>
                    <a:pt x="247648" y="476247"/>
                  </a:lnTo>
                  <a:lnTo>
                    <a:pt x="247648" y="473072"/>
                  </a:lnTo>
                  <a:lnTo>
                    <a:pt x="249245" y="468310"/>
                  </a:lnTo>
                  <a:lnTo>
                    <a:pt x="250843" y="462754"/>
                  </a:lnTo>
                  <a:lnTo>
                    <a:pt x="253239" y="456404"/>
                  </a:lnTo>
                  <a:lnTo>
                    <a:pt x="256433" y="453229"/>
                  </a:lnTo>
                  <a:lnTo>
                    <a:pt x="258030" y="449260"/>
                  </a:lnTo>
                  <a:lnTo>
                    <a:pt x="261225" y="447672"/>
                  </a:lnTo>
                  <a:lnTo>
                    <a:pt x="264419" y="446085"/>
                  </a:lnTo>
                  <a:lnTo>
                    <a:pt x="267614" y="442910"/>
                  </a:lnTo>
                  <a:lnTo>
                    <a:pt x="271607" y="442910"/>
                  </a:lnTo>
                  <a:close/>
                  <a:moveTo>
                    <a:pt x="1041521" y="423860"/>
                  </a:moveTo>
                  <a:lnTo>
                    <a:pt x="1044691" y="423860"/>
                  </a:lnTo>
                  <a:lnTo>
                    <a:pt x="1047861" y="423860"/>
                  </a:lnTo>
                  <a:lnTo>
                    <a:pt x="1051030" y="425445"/>
                  </a:lnTo>
                  <a:lnTo>
                    <a:pt x="1056577" y="427030"/>
                  </a:lnTo>
                  <a:lnTo>
                    <a:pt x="1061332" y="430199"/>
                  </a:lnTo>
                  <a:lnTo>
                    <a:pt x="1067671" y="433368"/>
                  </a:lnTo>
                  <a:lnTo>
                    <a:pt x="1074803" y="435745"/>
                  </a:lnTo>
                  <a:lnTo>
                    <a:pt x="1081143" y="440499"/>
                  </a:lnTo>
                  <a:lnTo>
                    <a:pt x="1086690" y="445254"/>
                  </a:lnTo>
                  <a:lnTo>
                    <a:pt x="1089860" y="448423"/>
                  </a:lnTo>
                  <a:lnTo>
                    <a:pt x="1093030" y="450800"/>
                  </a:lnTo>
                  <a:lnTo>
                    <a:pt x="1096199" y="453969"/>
                  </a:lnTo>
                  <a:lnTo>
                    <a:pt x="1099369" y="458723"/>
                  </a:lnTo>
                  <a:lnTo>
                    <a:pt x="1101746" y="461893"/>
                  </a:lnTo>
                  <a:lnTo>
                    <a:pt x="1103331" y="464270"/>
                  </a:lnTo>
                  <a:lnTo>
                    <a:pt x="1106501" y="469024"/>
                  </a:lnTo>
                  <a:lnTo>
                    <a:pt x="1109671" y="475363"/>
                  </a:lnTo>
                  <a:lnTo>
                    <a:pt x="1109671" y="479324"/>
                  </a:lnTo>
                  <a:lnTo>
                    <a:pt x="1112840" y="484078"/>
                  </a:lnTo>
                  <a:lnTo>
                    <a:pt x="1114425" y="490417"/>
                  </a:lnTo>
                  <a:lnTo>
                    <a:pt x="1116010" y="497548"/>
                  </a:lnTo>
                  <a:lnTo>
                    <a:pt x="881703" y="714372"/>
                  </a:lnTo>
                  <a:lnTo>
                    <a:pt x="1353360" y="714372"/>
                  </a:lnTo>
                  <a:lnTo>
                    <a:pt x="1354946" y="715943"/>
                  </a:lnTo>
                  <a:lnTo>
                    <a:pt x="1359703" y="720655"/>
                  </a:lnTo>
                  <a:lnTo>
                    <a:pt x="1361289" y="723797"/>
                  </a:lnTo>
                  <a:lnTo>
                    <a:pt x="1362875" y="727724"/>
                  </a:lnTo>
                  <a:lnTo>
                    <a:pt x="1365254" y="732436"/>
                  </a:lnTo>
                  <a:lnTo>
                    <a:pt x="1368425" y="737149"/>
                  </a:lnTo>
                  <a:lnTo>
                    <a:pt x="1368425" y="742647"/>
                  </a:lnTo>
                  <a:lnTo>
                    <a:pt x="1370011" y="748930"/>
                  </a:lnTo>
                  <a:lnTo>
                    <a:pt x="1368425" y="755213"/>
                  </a:lnTo>
                  <a:lnTo>
                    <a:pt x="1368425" y="760711"/>
                  </a:lnTo>
                  <a:lnTo>
                    <a:pt x="1366840" y="763852"/>
                  </a:lnTo>
                  <a:lnTo>
                    <a:pt x="1365254" y="768565"/>
                  </a:lnTo>
                  <a:lnTo>
                    <a:pt x="1364461" y="770921"/>
                  </a:lnTo>
                  <a:lnTo>
                    <a:pt x="1362875" y="774063"/>
                  </a:lnTo>
                  <a:lnTo>
                    <a:pt x="1359703" y="778775"/>
                  </a:lnTo>
                  <a:lnTo>
                    <a:pt x="1356532" y="781917"/>
                  </a:lnTo>
                  <a:lnTo>
                    <a:pt x="1353360" y="785058"/>
                  </a:lnTo>
                  <a:lnTo>
                    <a:pt x="1348602" y="788985"/>
                  </a:lnTo>
                  <a:lnTo>
                    <a:pt x="848977" y="788985"/>
                  </a:lnTo>
                  <a:lnTo>
                    <a:pt x="848449" y="790814"/>
                  </a:lnTo>
                  <a:lnTo>
                    <a:pt x="845249" y="795558"/>
                  </a:lnTo>
                  <a:lnTo>
                    <a:pt x="843649" y="798720"/>
                  </a:lnTo>
                  <a:lnTo>
                    <a:pt x="840449" y="802674"/>
                  </a:lnTo>
                  <a:lnTo>
                    <a:pt x="839649" y="807418"/>
                  </a:lnTo>
                  <a:lnTo>
                    <a:pt x="836449" y="810580"/>
                  </a:lnTo>
                  <a:lnTo>
                    <a:pt x="833250" y="815324"/>
                  </a:lnTo>
                  <a:lnTo>
                    <a:pt x="830050" y="817696"/>
                  </a:lnTo>
                  <a:lnTo>
                    <a:pt x="826850" y="822440"/>
                  </a:lnTo>
                  <a:lnTo>
                    <a:pt x="822850" y="825603"/>
                  </a:lnTo>
                  <a:lnTo>
                    <a:pt x="818051" y="828765"/>
                  </a:lnTo>
                  <a:lnTo>
                    <a:pt x="814851" y="831137"/>
                  </a:lnTo>
                  <a:lnTo>
                    <a:pt x="811651" y="834300"/>
                  </a:lnTo>
                  <a:lnTo>
                    <a:pt x="807651" y="837463"/>
                  </a:lnTo>
                  <a:lnTo>
                    <a:pt x="802851" y="840625"/>
                  </a:lnTo>
                  <a:lnTo>
                    <a:pt x="798052" y="842207"/>
                  </a:lnTo>
                  <a:lnTo>
                    <a:pt x="794052" y="843788"/>
                  </a:lnTo>
                  <a:lnTo>
                    <a:pt x="789252" y="845369"/>
                  </a:lnTo>
                  <a:lnTo>
                    <a:pt x="784453" y="846160"/>
                  </a:lnTo>
                  <a:lnTo>
                    <a:pt x="779653" y="847741"/>
                  </a:lnTo>
                  <a:lnTo>
                    <a:pt x="774053" y="849323"/>
                  </a:lnTo>
                  <a:lnTo>
                    <a:pt x="769253" y="850904"/>
                  </a:lnTo>
                  <a:lnTo>
                    <a:pt x="764454" y="850904"/>
                  </a:lnTo>
                  <a:lnTo>
                    <a:pt x="760454" y="852485"/>
                  </a:lnTo>
                  <a:lnTo>
                    <a:pt x="754054" y="852485"/>
                  </a:lnTo>
                  <a:lnTo>
                    <a:pt x="749255" y="852485"/>
                  </a:lnTo>
                  <a:lnTo>
                    <a:pt x="743655" y="850904"/>
                  </a:lnTo>
                  <a:lnTo>
                    <a:pt x="738855" y="850904"/>
                  </a:lnTo>
                  <a:lnTo>
                    <a:pt x="735151" y="849989"/>
                  </a:lnTo>
                  <a:lnTo>
                    <a:pt x="711867" y="871535"/>
                  </a:lnTo>
                  <a:lnTo>
                    <a:pt x="710282" y="871535"/>
                  </a:lnTo>
                  <a:lnTo>
                    <a:pt x="707112" y="871535"/>
                  </a:lnTo>
                  <a:lnTo>
                    <a:pt x="703942" y="871535"/>
                  </a:lnTo>
                  <a:lnTo>
                    <a:pt x="701565" y="871535"/>
                  </a:lnTo>
                  <a:lnTo>
                    <a:pt x="698395" y="871535"/>
                  </a:lnTo>
                  <a:lnTo>
                    <a:pt x="695226" y="871535"/>
                  </a:lnTo>
                  <a:lnTo>
                    <a:pt x="692056" y="869951"/>
                  </a:lnTo>
                  <a:lnTo>
                    <a:pt x="687301" y="868366"/>
                  </a:lnTo>
                  <a:lnTo>
                    <a:pt x="683339" y="866781"/>
                  </a:lnTo>
                  <a:lnTo>
                    <a:pt x="678584" y="865196"/>
                  </a:lnTo>
                  <a:lnTo>
                    <a:pt x="673830" y="862027"/>
                  </a:lnTo>
                  <a:lnTo>
                    <a:pt x="669868" y="859650"/>
                  </a:lnTo>
                  <a:lnTo>
                    <a:pt x="663528" y="854896"/>
                  </a:lnTo>
                  <a:lnTo>
                    <a:pt x="658774" y="850142"/>
                  </a:lnTo>
                  <a:lnTo>
                    <a:pt x="654811" y="845388"/>
                  </a:lnTo>
                  <a:lnTo>
                    <a:pt x="650057" y="839841"/>
                  </a:lnTo>
                  <a:lnTo>
                    <a:pt x="646887" y="833503"/>
                  </a:lnTo>
                  <a:lnTo>
                    <a:pt x="643717" y="829541"/>
                  </a:lnTo>
                  <a:lnTo>
                    <a:pt x="642132" y="824787"/>
                  </a:lnTo>
                  <a:lnTo>
                    <a:pt x="639755" y="820033"/>
                  </a:lnTo>
                  <a:lnTo>
                    <a:pt x="639755" y="816863"/>
                  </a:lnTo>
                  <a:lnTo>
                    <a:pt x="638170" y="814486"/>
                  </a:lnTo>
                  <a:lnTo>
                    <a:pt x="636585" y="809732"/>
                  </a:lnTo>
                  <a:lnTo>
                    <a:pt x="636585" y="806563"/>
                  </a:lnTo>
                  <a:lnTo>
                    <a:pt x="636585" y="803394"/>
                  </a:lnTo>
                  <a:lnTo>
                    <a:pt x="636585" y="801809"/>
                  </a:lnTo>
                  <a:lnTo>
                    <a:pt x="636585" y="799432"/>
                  </a:lnTo>
                  <a:lnTo>
                    <a:pt x="638170" y="799432"/>
                  </a:lnTo>
                  <a:lnTo>
                    <a:pt x="649389" y="788985"/>
                  </a:lnTo>
                  <a:lnTo>
                    <a:pt x="629421" y="788985"/>
                  </a:lnTo>
                  <a:lnTo>
                    <a:pt x="627835" y="787414"/>
                  </a:lnTo>
                  <a:lnTo>
                    <a:pt x="626250" y="787414"/>
                  </a:lnTo>
                  <a:lnTo>
                    <a:pt x="622285" y="785058"/>
                  </a:lnTo>
                  <a:lnTo>
                    <a:pt x="619113" y="781917"/>
                  </a:lnTo>
                  <a:lnTo>
                    <a:pt x="615942" y="777204"/>
                  </a:lnTo>
                  <a:lnTo>
                    <a:pt x="612770" y="770921"/>
                  </a:lnTo>
                  <a:lnTo>
                    <a:pt x="611184" y="768565"/>
                  </a:lnTo>
                  <a:lnTo>
                    <a:pt x="609598" y="763852"/>
                  </a:lnTo>
                  <a:lnTo>
                    <a:pt x="609598" y="759140"/>
                  </a:lnTo>
                  <a:lnTo>
                    <a:pt x="609598" y="755213"/>
                  </a:lnTo>
                  <a:lnTo>
                    <a:pt x="609598" y="748930"/>
                  </a:lnTo>
                  <a:lnTo>
                    <a:pt x="609598" y="745788"/>
                  </a:lnTo>
                  <a:lnTo>
                    <a:pt x="611184" y="739505"/>
                  </a:lnTo>
                  <a:lnTo>
                    <a:pt x="612770" y="737149"/>
                  </a:lnTo>
                  <a:lnTo>
                    <a:pt x="614356" y="732436"/>
                  </a:lnTo>
                  <a:lnTo>
                    <a:pt x="617527" y="729295"/>
                  </a:lnTo>
                  <a:lnTo>
                    <a:pt x="619113" y="726153"/>
                  </a:lnTo>
                  <a:lnTo>
                    <a:pt x="622285" y="724582"/>
                  </a:lnTo>
                  <a:lnTo>
                    <a:pt x="626250" y="720655"/>
                  </a:lnTo>
                  <a:lnTo>
                    <a:pt x="631007" y="717514"/>
                  </a:lnTo>
                  <a:lnTo>
                    <a:pt x="634179" y="714372"/>
                  </a:lnTo>
                  <a:lnTo>
                    <a:pt x="635765" y="714372"/>
                  </a:lnTo>
                  <a:lnTo>
                    <a:pt x="658508" y="714372"/>
                  </a:lnTo>
                  <a:lnTo>
                    <a:pt x="659660" y="710957"/>
                  </a:lnTo>
                  <a:lnTo>
                    <a:pt x="661260" y="707004"/>
                  </a:lnTo>
                  <a:lnTo>
                    <a:pt x="662860" y="702260"/>
                  </a:lnTo>
                  <a:lnTo>
                    <a:pt x="666059" y="697516"/>
                  </a:lnTo>
                  <a:lnTo>
                    <a:pt x="669259" y="693562"/>
                  </a:lnTo>
                  <a:lnTo>
                    <a:pt x="671659" y="690400"/>
                  </a:lnTo>
                  <a:lnTo>
                    <a:pt x="674859" y="685656"/>
                  </a:lnTo>
                  <a:lnTo>
                    <a:pt x="678059" y="682493"/>
                  </a:lnTo>
                  <a:lnTo>
                    <a:pt x="681259" y="679330"/>
                  </a:lnTo>
                  <a:lnTo>
                    <a:pt x="684458" y="675377"/>
                  </a:lnTo>
                  <a:lnTo>
                    <a:pt x="688458" y="672214"/>
                  </a:lnTo>
                  <a:lnTo>
                    <a:pt x="691658" y="669052"/>
                  </a:lnTo>
                  <a:lnTo>
                    <a:pt x="696458" y="665889"/>
                  </a:lnTo>
                  <a:lnTo>
                    <a:pt x="701257" y="663517"/>
                  </a:lnTo>
                  <a:lnTo>
                    <a:pt x="705257" y="661936"/>
                  </a:lnTo>
                  <a:lnTo>
                    <a:pt x="710057" y="658773"/>
                  </a:lnTo>
                  <a:lnTo>
                    <a:pt x="714857" y="657192"/>
                  </a:lnTo>
                  <a:lnTo>
                    <a:pt x="718856" y="655611"/>
                  </a:lnTo>
                  <a:lnTo>
                    <a:pt x="723656" y="654029"/>
                  </a:lnTo>
                  <a:lnTo>
                    <a:pt x="728456" y="652448"/>
                  </a:lnTo>
                  <a:lnTo>
                    <a:pt x="732456" y="650867"/>
                  </a:lnTo>
                  <a:lnTo>
                    <a:pt x="738855" y="650867"/>
                  </a:lnTo>
                  <a:lnTo>
                    <a:pt x="743655" y="649285"/>
                  </a:lnTo>
                  <a:lnTo>
                    <a:pt x="749255" y="649285"/>
                  </a:lnTo>
                  <a:lnTo>
                    <a:pt x="754054" y="649285"/>
                  </a:lnTo>
                  <a:lnTo>
                    <a:pt x="760454" y="649285"/>
                  </a:lnTo>
                  <a:lnTo>
                    <a:pt x="764454" y="649285"/>
                  </a:lnTo>
                  <a:lnTo>
                    <a:pt x="769253" y="650867"/>
                  </a:lnTo>
                  <a:lnTo>
                    <a:pt x="774053" y="650867"/>
                  </a:lnTo>
                  <a:lnTo>
                    <a:pt x="779653" y="652448"/>
                  </a:lnTo>
                  <a:lnTo>
                    <a:pt x="784453" y="654029"/>
                  </a:lnTo>
                  <a:lnTo>
                    <a:pt x="789252" y="655611"/>
                  </a:lnTo>
                  <a:lnTo>
                    <a:pt x="791747" y="656432"/>
                  </a:lnTo>
                  <a:close/>
                  <a:moveTo>
                    <a:pt x="1036147" y="241297"/>
                  </a:moveTo>
                  <a:lnTo>
                    <a:pt x="1040088" y="241297"/>
                  </a:lnTo>
                  <a:lnTo>
                    <a:pt x="1043241" y="241297"/>
                  </a:lnTo>
                  <a:lnTo>
                    <a:pt x="1047970" y="241297"/>
                  </a:lnTo>
                  <a:lnTo>
                    <a:pt x="1051123" y="241297"/>
                  </a:lnTo>
                  <a:lnTo>
                    <a:pt x="1054276" y="242894"/>
                  </a:lnTo>
                  <a:lnTo>
                    <a:pt x="1056640" y="244491"/>
                  </a:lnTo>
                  <a:lnTo>
                    <a:pt x="1061370" y="247685"/>
                  </a:lnTo>
                  <a:lnTo>
                    <a:pt x="1066099" y="251678"/>
                  </a:lnTo>
                  <a:lnTo>
                    <a:pt x="1070828" y="258066"/>
                  </a:lnTo>
                  <a:lnTo>
                    <a:pt x="1073193" y="264454"/>
                  </a:lnTo>
                  <a:lnTo>
                    <a:pt x="1076345" y="270043"/>
                  </a:lnTo>
                  <a:lnTo>
                    <a:pt x="1076345" y="274834"/>
                  </a:lnTo>
                  <a:lnTo>
                    <a:pt x="1077922" y="279625"/>
                  </a:lnTo>
                  <a:lnTo>
                    <a:pt x="1077922" y="282021"/>
                  </a:lnTo>
                  <a:lnTo>
                    <a:pt x="1079498" y="283618"/>
                  </a:lnTo>
                  <a:lnTo>
                    <a:pt x="1025112" y="373050"/>
                  </a:lnTo>
                  <a:lnTo>
                    <a:pt x="1019595" y="373050"/>
                  </a:lnTo>
                  <a:lnTo>
                    <a:pt x="1014866" y="374647"/>
                  </a:lnTo>
                  <a:lnTo>
                    <a:pt x="1009348" y="374647"/>
                  </a:lnTo>
                  <a:lnTo>
                    <a:pt x="1006195" y="374647"/>
                  </a:lnTo>
                  <a:lnTo>
                    <a:pt x="1001466" y="374647"/>
                  </a:lnTo>
                  <a:lnTo>
                    <a:pt x="998313" y="373050"/>
                  </a:lnTo>
                  <a:lnTo>
                    <a:pt x="994372" y="373050"/>
                  </a:lnTo>
                  <a:lnTo>
                    <a:pt x="991220" y="373050"/>
                  </a:lnTo>
                  <a:lnTo>
                    <a:pt x="984914" y="370655"/>
                  </a:lnTo>
                  <a:lnTo>
                    <a:pt x="980185" y="367461"/>
                  </a:lnTo>
                  <a:lnTo>
                    <a:pt x="977820" y="364267"/>
                  </a:lnTo>
                  <a:lnTo>
                    <a:pt x="974667" y="359476"/>
                  </a:lnTo>
                  <a:lnTo>
                    <a:pt x="971514" y="355483"/>
                  </a:lnTo>
                  <a:lnTo>
                    <a:pt x="969938" y="350692"/>
                  </a:lnTo>
                  <a:lnTo>
                    <a:pt x="968362" y="347498"/>
                  </a:lnTo>
                  <a:lnTo>
                    <a:pt x="968362" y="342707"/>
                  </a:lnTo>
                  <a:lnTo>
                    <a:pt x="966785" y="338714"/>
                  </a:lnTo>
                  <a:lnTo>
                    <a:pt x="968362" y="335520"/>
                  </a:lnTo>
                  <a:lnTo>
                    <a:pt x="1018018" y="250081"/>
                  </a:lnTo>
                  <a:lnTo>
                    <a:pt x="1019595" y="249282"/>
                  </a:lnTo>
                  <a:lnTo>
                    <a:pt x="1022748" y="247685"/>
                  </a:lnTo>
                  <a:lnTo>
                    <a:pt x="1024324" y="246088"/>
                  </a:lnTo>
                  <a:lnTo>
                    <a:pt x="1026689" y="244491"/>
                  </a:lnTo>
                  <a:lnTo>
                    <a:pt x="1029841" y="242894"/>
                  </a:lnTo>
                  <a:lnTo>
                    <a:pt x="1032994" y="242894"/>
                  </a:lnTo>
                  <a:close/>
                  <a:moveTo>
                    <a:pt x="483192" y="241297"/>
                  </a:moveTo>
                  <a:lnTo>
                    <a:pt x="487132" y="241297"/>
                  </a:lnTo>
                  <a:lnTo>
                    <a:pt x="490284" y="241297"/>
                  </a:lnTo>
                  <a:lnTo>
                    <a:pt x="493436" y="241297"/>
                  </a:lnTo>
                  <a:lnTo>
                    <a:pt x="498165" y="241297"/>
                  </a:lnTo>
                  <a:lnTo>
                    <a:pt x="501317" y="242894"/>
                  </a:lnTo>
                  <a:lnTo>
                    <a:pt x="506833" y="244491"/>
                  </a:lnTo>
                  <a:lnTo>
                    <a:pt x="511561" y="247685"/>
                  </a:lnTo>
                  <a:lnTo>
                    <a:pt x="514713" y="249282"/>
                  </a:lnTo>
                  <a:lnTo>
                    <a:pt x="517078" y="250081"/>
                  </a:lnTo>
                  <a:lnTo>
                    <a:pt x="565148" y="335520"/>
                  </a:lnTo>
                  <a:lnTo>
                    <a:pt x="565148" y="338714"/>
                  </a:lnTo>
                  <a:lnTo>
                    <a:pt x="565148" y="342707"/>
                  </a:lnTo>
                  <a:lnTo>
                    <a:pt x="563572" y="347498"/>
                  </a:lnTo>
                  <a:lnTo>
                    <a:pt x="562784" y="350692"/>
                  </a:lnTo>
                  <a:lnTo>
                    <a:pt x="561208" y="355483"/>
                  </a:lnTo>
                  <a:lnTo>
                    <a:pt x="559632" y="359476"/>
                  </a:lnTo>
                  <a:lnTo>
                    <a:pt x="554904" y="364267"/>
                  </a:lnTo>
                  <a:lnTo>
                    <a:pt x="551752" y="367461"/>
                  </a:lnTo>
                  <a:lnTo>
                    <a:pt x="546235" y="370655"/>
                  </a:lnTo>
                  <a:lnTo>
                    <a:pt x="541507" y="373050"/>
                  </a:lnTo>
                  <a:lnTo>
                    <a:pt x="538355" y="373050"/>
                  </a:lnTo>
                  <a:lnTo>
                    <a:pt x="533627" y="373050"/>
                  </a:lnTo>
                  <a:lnTo>
                    <a:pt x="529686" y="374647"/>
                  </a:lnTo>
                  <a:lnTo>
                    <a:pt x="526534" y="374647"/>
                  </a:lnTo>
                  <a:lnTo>
                    <a:pt x="521806" y="374647"/>
                  </a:lnTo>
                  <a:lnTo>
                    <a:pt x="517078" y="374647"/>
                  </a:lnTo>
                  <a:lnTo>
                    <a:pt x="513137" y="373050"/>
                  </a:lnTo>
                  <a:lnTo>
                    <a:pt x="506833" y="373050"/>
                  </a:lnTo>
                  <a:lnTo>
                    <a:pt x="455610" y="283618"/>
                  </a:lnTo>
                  <a:lnTo>
                    <a:pt x="455610" y="282021"/>
                  </a:lnTo>
                  <a:lnTo>
                    <a:pt x="455610" y="279625"/>
                  </a:lnTo>
                  <a:lnTo>
                    <a:pt x="455610" y="274834"/>
                  </a:lnTo>
                  <a:lnTo>
                    <a:pt x="457186" y="270043"/>
                  </a:lnTo>
                  <a:lnTo>
                    <a:pt x="458762" y="264454"/>
                  </a:lnTo>
                  <a:lnTo>
                    <a:pt x="461915" y="258066"/>
                  </a:lnTo>
                  <a:lnTo>
                    <a:pt x="466643" y="251678"/>
                  </a:lnTo>
                  <a:lnTo>
                    <a:pt x="472159" y="247685"/>
                  </a:lnTo>
                  <a:lnTo>
                    <a:pt x="475311" y="244491"/>
                  </a:lnTo>
                  <a:lnTo>
                    <a:pt x="480040" y="242894"/>
                  </a:lnTo>
                  <a:close/>
                  <a:moveTo>
                    <a:pt x="749298" y="163510"/>
                  </a:moveTo>
                  <a:lnTo>
                    <a:pt x="754060" y="163510"/>
                  </a:lnTo>
                  <a:lnTo>
                    <a:pt x="758823" y="165089"/>
                  </a:lnTo>
                  <a:lnTo>
                    <a:pt x="761998" y="165089"/>
                  </a:lnTo>
                  <a:lnTo>
                    <a:pt x="764379" y="165089"/>
                  </a:lnTo>
                  <a:lnTo>
                    <a:pt x="769141" y="166668"/>
                  </a:lnTo>
                  <a:lnTo>
                    <a:pt x="772316" y="168247"/>
                  </a:lnTo>
                  <a:lnTo>
                    <a:pt x="777079" y="172983"/>
                  </a:lnTo>
                  <a:lnTo>
                    <a:pt x="782635" y="176930"/>
                  </a:lnTo>
                  <a:lnTo>
                    <a:pt x="785810" y="180088"/>
                  </a:lnTo>
                  <a:lnTo>
                    <a:pt x="788985" y="184824"/>
                  </a:lnTo>
                  <a:lnTo>
                    <a:pt x="792160" y="186403"/>
                  </a:lnTo>
                  <a:lnTo>
                    <a:pt x="792160" y="187982"/>
                  </a:lnTo>
                  <a:lnTo>
                    <a:pt x="792160" y="289817"/>
                  </a:lnTo>
                  <a:lnTo>
                    <a:pt x="785810" y="292974"/>
                  </a:lnTo>
                  <a:lnTo>
                    <a:pt x="782635" y="296132"/>
                  </a:lnTo>
                  <a:lnTo>
                    <a:pt x="778666" y="298500"/>
                  </a:lnTo>
                  <a:lnTo>
                    <a:pt x="775491" y="301658"/>
                  </a:lnTo>
                  <a:lnTo>
                    <a:pt x="770729" y="303237"/>
                  </a:lnTo>
                  <a:lnTo>
                    <a:pt x="767554" y="304815"/>
                  </a:lnTo>
                  <a:lnTo>
                    <a:pt x="764379" y="306394"/>
                  </a:lnTo>
                  <a:lnTo>
                    <a:pt x="761998" y="307973"/>
                  </a:lnTo>
                  <a:lnTo>
                    <a:pt x="754060" y="307973"/>
                  </a:lnTo>
                  <a:lnTo>
                    <a:pt x="749298" y="307973"/>
                  </a:lnTo>
                  <a:lnTo>
                    <a:pt x="743741" y="304815"/>
                  </a:lnTo>
                  <a:lnTo>
                    <a:pt x="740566" y="304815"/>
                  </a:lnTo>
                  <a:lnTo>
                    <a:pt x="734216" y="301658"/>
                  </a:lnTo>
                  <a:lnTo>
                    <a:pt x="731835" y="298500"/>
                  </a:lnTo>
                  <a:lnTo>
                    <a:pt x="728660" y="296132"/>
                  </a:lnTo>
                  <a:lnTo>
                    <a:pt x="727073" y="292974"/>
                  </a:lnTo>
                  <a:lnTo>
                    <a:pt x="722310" y="288238"/>
                  </a:lnTo>
                  <a:lnTo>
                    <a:pt x="722310" y="286659"/>
                  </a:lnTo>
                  <a:lnTo>
                    <a:pt x="722310" y="189561"/>
                  </a:lnTo>
                  <a:lnTo>
                    <a:pt x="722310" y="187982"/>
                  </a:lnTo>
                  <a:lnTo>
                    <a:pt x="723898" y="184824"/>
                  </a:lnTo>
                  <a:lnTo>
                    <a:pt x="727073" y="180088"/>
                  </a:lnTo>
                  <a:lnTo>
                    <a:pt x="731835" y="175351"/>
                  </a:lnTo>
                  <a:lnTo>
                    <a:pt x="737391" y="169825"/>
                  </a:lnTo>
                  <a:lnTo>
                    <a:pt x="743741" y="166668"/>
                  </a:lnTo>
                  <a:lnTo>
                    <a:pt x="746916" y="165089"/>
                  </a:lnTo>
                  <a:close/>
                  <a:moveTo>
                    <a:pt x="759617" y="98006"/>
                  </a:moveTo>
                  <a:cubicBezTo>
                    <a:pt x="394219" y="98006"/>
                    <a:pt x="98006" y="394219"/>
                    <a:pt x="98006" y="759616"/>
                  </a:cubicBezTo>
                  <a:cubicBezTo>
                    <a:pt x="98006" y="1125013"/>
                    <a:pt x="394219" y="1421226"/>
                    <a:pt x="759617" y="1421226"/>
                  </a:cubicBezTo>
                  <a:cubicBezTo>
                    <a:pt x="1125015" y="1421226"/>
                    <a:pt x="1421228" y="1125013"/>
                    <a:pt x="1421228" y="759616"/>
                  </a:cubicBezTo>
                  <a:cubicBezTo>
                    <a:pt x="1421228" y="394219"/>
                    <a:pt x="1125015" y="98006"/>
                    <a:pt x="759617" y="98006"/>
                  </a:cubicBezTo>
                  <a:close/>
                  <a:moveTo>
                    <a:pt x="759617" y="0"/>
                  </a:moveTo>
                  <a:cubicBezTo>
                    <a:pt x="1179142" y="0"/>
                    <a:pt x="1519234" y="340092"/>
                    <a:pt x="1519234" y="759616"/>
                  </a:cubicBezTo>
                  <a:cubicBezTo>
                    <a:pt x="1519234" y="1179140"/>
                    <a:pt x="1179142" y="1519232"/>
                    <a:pt x="759617" y="1519232"/>
                  </a:cubicBezTo>
                  <a:cubicBezTo>
                    <a:pt x="340092" y="1519232"/>
                    <a:pt x="0" y="1179140"/>
                    <a:pt x="0" y="759616"/>
                  </a:cubicBezTo>
                  <a:cubicBezTo>
                    <a:pt x="0" y="340092"/>
                    <a:pt x="340092" y="0"/>
                    <a:pt x="759617" y="0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11415727" y="4756018"/>
            <a:ext cx="365125" cy="365125"/>
            <a:chOff x="5516858" y="3348850"/>
            <a:chExt cx="365125" cy="365125"/>
          </a:xfrm>
        </p:grpSpPr>
        <p:sp>
          <p:nvSpPr>
            <p:cNvPr id="73" name="Oval 72"/>
            <p:cNvSpPr/>
            <p:nvPr/>
          </p:nvSpPr>
          <p:spPr>
            <a:xfrm>
              <a:off x="5516858" y="3348850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74" name="Donut 146"/>
            <p:cNvSpPr/>
            <p:nvPr/>
          </p:nvSpPr>
          <p:spPr>
            <a:xfrm>
              <a:off x="5563859" y="3395851"/>
              <a:ext cx="271123" cy="271123"/>
            </a:xfrm>
            <a:custGeom>
              <a:avLst/>
              <a:gdLst/>
              <a:ahLst/>
              <a:cxnLst/>
              <a:rect l="l" t="t" r="r" b="b"/>
              <a:pathLst>
                <a:path w="1519234" h="1519232">
                  <a:moveTo>
                    <a:pt x="749584" y="1231897"/>
                  </a:moveTo>
                  <a:lnTo>
                    <a:pt x="752795" y="1231897"/>
                  </a:lnTo>
                  <a:lnTo>
                    <a:pt x="757611" y="1231897"/>
                  </a:lnTo>
                  <a:lnTo>
                    <a:pt x="762427" y="1231897"/>
                  </a:lnTo>
                  <a:lnTo>
                    <a:pt x="764835" y="1231897"/>
                  </a:lnTo>
                  <a:lnTo>
                    <a:pt x="769651" y="1233476"/>
                  </a:lnTo>
                  <a:lnTo>
                    <a:pt x="772861" y="1235055"/>
                  </a:lnTo>
                  <a:lnTo>
                    <a:pt x="776072" y="1236633"/>
                  </a:lnTo>
                  <a:lnTo>
                    <a:pt x="781691" y="1239791"/>
                  </a:lnTo>
                  <a:lnTo>
                    <a:pt x="786507" y="1244527"/>
                  </a:lnTo>
                  <a:lnTo>
                    <a:pt x="789718" y="1246895"/>
                  </a:lnTo>
                  <a:lnTo>
                    <a:pt x="792928" y="1250053"/>
                  </a:lnTo>
                  <a:lnTo>
                    <a:pt x="794534" y="1253210"/>
                  </a:lnTo>
                  <a:lnTo>
                    <a:pt x="795336" y="1254789"/>
                  </a:lnTo>
                  <a:lnTo>
                    <a:pt x="794534" y="1356617"/>
                  </a:lnTo>
                  <a:lnTo>
                    <a:pt x="789718" y="1359774"/>
                  </a:lnTo>
                  <a:lnTo>
                    <a:pt x="786507" y="1362932"/>
                  </a:lnTo>
                  <a:lnTo>
                    <a:pt x="781691" y="1366089"/>
                  </a:lnTo>
                  <a:lnTo>
                    <a:pt x="779283" y="1368457"/>
                  </a:lnTo>
                  <a:lnTo>
                    <a:pt x="774467" y="1370036"/>
                  </a:lnTo>
                  <a:lnTo>
                    <a:pt x="771256" y="1371615"/>
                  </a:lnTo>
                  <a:lnTo>
                    <a:pt x="768045" y="1373194"/>
                  </a:lnTo>
                  <a:lnTo>
                    <a:pt x="764835" y="1374772"/>
                  </a:lnTo>
                  <a:lnTo>
                    <a:pt x="757611" y="1374772"/>
                  </a:lnTo>
                  <a:lnTo>
                    <a:pt x="752795" y="1374772"/>
                  </a:lnTo>
                  <a:lnTo>
                    <a:pt x="747176" y="1373194"/>
                  </a:lnTo>
                  <a:lnTo>
                    <a:pt x="743965" y="1371615"/>
                  </a:lnTo>
                  <a:lnTo>
                    <a:pt x="737544" y="1368457"/>
                  </a:lnTo>
                  <a:lnTo>
                    <a:pt x="734333" y="1366879"/>
                  </a:lnTo>
                  <a:lnTo>
                    <a:pt x="730320" y="1364510"/>
                  </a:lnTo>
                  <a:lnTo>
                    <a:pt x="728714" y="1361353"/>
                  </a:lnTo>
                  <a:lnTo>
                    <a:pt x="725504" y="1356617"/>
                  </a:lnTo>
                  <a:lnTo>
                    <a:pt x="723898" y="1355038"/>
                  </a:lnTo>
                  <a:lnTo>
                    <a:pt x="723898" y="1254789"/>
                  </a:lnTo>
                  <a:lnTo>
                    <a:pt x="727109" y="1251631"/>
                  </a:lnTo>
                  <a:lnTo>
                    <a:pt x="730320" y="1245316"/>
                  </a:lnTo>
                  <a:lnTo>
                    <a:pt x="734333" y="1242948"/>
                  </a:lnTo>
                  <a:lnTo>
                    <a:pt x="739149" y="1236633"/>
                  </a:lnTo>
                  <a:lnTo>
                    <a:pt x="747176" y="1233476"/>
                  </a:lnTo>
                  <a:close/>
                  <a:moveTo>
                    <a:pt x="995175" y="1155697"/>
                  </a:moveTo>
                  <a:lnTo>
                    <a:pt x="999904" y="1155697"/>
                  </a:lnTo>
                  <a:lnTo>
                    <a:pt x="1003057" y="1155697"/>
                  </a:lnTo>
                  <a:lnTo>
                    <a:pt x="1007787" y="1155697"/>
                  </a:lnTo>
                  <a:lnTo>
                    <a:pt x="1010152" y="1155697"/>
                  </a:lnTo>
                  <a:lnTo>
                    <a:pt x="1016458" y="1155697"/>
                  </a:lnTo>
                  <a:lnTo>
                    <a:pt x="1021188" y="1155697"/>
                  </a:lnTo>
                  <a:lnTo>
                    <a:pt x="1026706" y="1158872"/>
                  </a:lnTo>
                  <a:lnTo>
                    <a:pt x="1082673" y="1247772"/>
                  </a:lnTo>
                  <a:lnTo>
                    <a:pt x="1081097" y="1247772"/>
                  </a:lnTo>
                  <a:lnTo>
                    <a:pt x="1081097" y="1250947"/>
                  </a:lnTo>
                  <a:lnTo>
                    <a:pt x="1081097" y="1254122"/>
                  </a:lnTo>
                  <a:lnTo>
                    <a:pt x="1079520" y="1259678"/>
                  </a:lnTo>
                  <a:lnTo>
                    <a:pt x="1076367" y="1266028"/>
                  </a:lnTo>
                  <a:lnTo>
                    <a:pt x="1074790" y="1272378"/>
                  </a:lnTo>
                  <a:lnTo>
                    <a:pt x="1070849" y="1276347"/>
                  </a:lnTo>
                  <a:lnTo>
                    <a:pt x="1064543" y="1284285"/>
                  </a:lnTo>
                  <a:lnTo>
                    <a:pt x="1061390" y="1284285"/>
                  </a:lnTo>
                  <a:lnTo>
                    <a:pt x="1056660" y="1287460"/>
                  </a:lnTo>
                  <a:lnTo>
                    <a:pt x="1054295" y="1287460"/>
                  </a:lnTo>
                  <a:lnTo>
                    <a:pt x="1051142" y="1289047"/>
                  </a:lnTo>
                  <a:lnTo>
                    <a:pt x="1046413" y="1289047"/>
                  </a:lnTo>
                  <a:lnTo>
                    <a:pt x="1043259" y="1289047"/>
                  </a:lnTo>
                  <a:lnTo>
                    <a:pt x="1039318" y="1287460"/>
                  </a:lnTo>
                  <a:lnTo>
                    <a:pt x="1036165" y="1287460"/>
                  </a:lnTo>
                  <a:lnTo>
                    <a:pt x="1029859" y="1284285"/>
                  </a:lnTo>
                  <a:lnTo>
                    <a:pt x="1025129" y="1282697"/>
                  </a:lnTo>
                  <a:lnTo>
                    <a:pt x="1022764" y="1281110"/>
                  </a:lnTo>
                  <a:lnTo>
                    <a:pt x="1021188" y="1281110"/>
                  </a:lnTo>
                  <a:lnTo>
                    <a:pt x="969950" y="1196972"/>
                  </a:lnTo>
                  <a:lnTo>
                    <a:pt x="968373" y="1195385"/>
                  </a:lnTo>
                  <a:lnTo>
                    <a:pt x="968373" y="1193797"/>
                  </a:lnTo>
                  <a:lnTo>
                    <a:pt x="968373" y="1190622"/>
                  </a:lnTo>
                  <a:lnTo>
                    <a:pt x="969950" y="1187447"/>
                  </a:lnTo>
                  <a:lnTo>
                    <a:pt x="969950" y="1182685"/>
                  </a:lnTo>
                  <a:lnTo>
                    <a:pt x="971526" y="1180303"/>
                  </a:lnTo>
                  <a:lnTo>
                    <a:pt x="973103" y="1175541"/>
                  </a:lnTo>
                  <a:lnTo>
                    <a:pt x="976256" y="1172366"/>
                  </a:lnTo>
                  <a:lnTo>
                    <a:pt x="978621" y="1167603"/>
                  </a:lnTo>
                  <a:lnTo>
                    <a:pt x="981774" y="1163635"/>
                  </a:lnTo>
                  <a:lnTo>
                    <a:pt x="986504" y="1160460"/>
                  </a:lnTo>
                  <a:lnTo>
                    <a:pt x="992810" y="1157285"/>
                  </a:lnTo>
                  <a:close/>
                  <a:moveTo>
                    <a:pt x="517118" y="1155697"/>
                  </a:moveTo>
                  <a:lnTo>
                    <a:pt x="523423" y="1155697"/>
                  </a:lnTo>
                  <a:lnTo>
                    <a:pt x="526575" y="1155697"/>
                  </a:lnTo>
                  <a:lnTo>
                    <a:pt x="532092" y="1155697"/>
                  </a:lnTo>
                  <a:lnTo>
                    <a:pt x="535245" y="1155697"/>
                  </a:lnTo>
                  <a:lnTo>
                    <a:pt x="539973" y="1155697"/>
                  </a:lnTo>
                  <a:lnTo>
                    <a:pt x="543126" y="1155697"/>
                  </a:lnTo>
                  <a:lnTo>
                    <a:pt x="546278" y="1157285"/>
                  </a:lnTo>
                  <a:lnTo>
                    <a:pt x="551795" y="1160460"/>
                  </a:lnTo>
                  <a:lnTo>
                    <a:pt x="556524" y="1163635"/>
                  </a:lnTo>
                  <a:lnTo>
                    <a:pt x="561253" y="1167603"/>
                  </a:lnTo>
                  <a:lnTo>
                    <a:pt x="563617" y="1172366"/>
                  </a:lnTo>
                  <a:lnTo>
                    <a:pt x="565193" y="1175541"/>
                  </a:lnTo>
                  <a:lnTo>
                    <a:pt x="568346" y="1180303"/>
                  </a:lnTo>
                  <a:lnTo>
                    <a:pt x="568346" y="1182685"/>
                  </a:lnTo>
                  <a:lnTo>
                    <a:pt x="569922" y="1187447"/>
                  </a:lnTo>
                  <a:lnTo>
                    <a:pt x="569922" y="1190622"/>
                  </a:lnTo>
                  <a:lnTo>
                    <a:pt x="569922" y="1193797"/>
                  </a:lnTo>
                  <a:lnTo>
                    <a:pt x="569922" y="1195385"/>
                  </a:lnTo>
                  <a:lnTo>
                    <a:pt x="571498" y="1196972"/>
                  </a:lnTo>
                  <a:lnTo>
                    <a:pt x="518694" y="1281110"/>
                  </a:lnTo>
                  <a:lnTo>
                    <a:pt x="517118" y="1281110"/>
                  </a:lnTo>
                  <a:lnTo>
                    <a:pt x="514754" y="1282697"/>
                  </a:lnTo>
                  <a:lnTo>
                    <a:pt x="510025" y="1284285"/>
                  </a:lnTo>
                  <a:lnTo>
                    <a:pt x="503720" y="1287460"/>
                  </a:lnTo>
                  <a:lnTo>
                    <a:pt x="501356" y="1287460"/>
                  </a:lnTo>
                  <a:lnTo>
                    <a:pt x="496627" y="1289047"/>
                  </a:lnTo>
                  <a:lnTo>
                    <a:pt x="493474" y="1289047"/>
                  </a:lnTo>
                  <a:lnTo>
                    <a:pt x="490322" y="1289047"/>
                  </a:lnTo>
                  <a:lnTo>
                    <a:pt x="486381" y="1287460"/>
                  </a:lnTo>
                  <a:lnTo>
                    <a:pt x="483229" y="1287460"/>
                  </a:lnTo>
                  <a:lnTo>
                    <a:pt x="480076" y="1284285"/>
                  </a:lnTo>
                  <a:lnTo>
                    <a:pt x="476924" y="1284285"/>
                  </a:lnTo>
                  <a:lnTo>
                    <a:pt x="470619" y="1276347"/>
                  </a:lnTo>
                  <a:lnTo>
                    <a:pt x="466678" y="1272378"/>
                  </a:lnTo>
                  <a:lnTo>
                    <a:pt x="463526" y="1266028"/>
                  </a:lnTo>
                  <a:lnTo>
                    <a:pt x="461949" y="1259678"/>
                  </a:lnTo>
                  <a:lnTo>
                    <a:pt x="460373" y="1254122"/>
                  </a:lnTo>
                  <a:lnTo>
                    <a:pt x="460373" y="1250947"/>
                  </a:lnTo>
                  <a:lnTo>
                    <a:pt x="460373" y="1247772"/>
                  </a:lnTo>
                  <a:lnTo>
                    <a:pt x="513177" y="1158872"/>
                  </a:lnTo>
                  <a:close/>
                  <a:moveTo>
                    <a:pt x="1192210" y="971547"/>
                  </a:moveTo>
                  <a:lnTo>
                    <a:pt x="1197767" y="971547"/>
                  </a:lnTo>
                  <a:lnTo>
                    <a:pt x="1281111" y="1031456"/>
                  </a:lnTo>
                  <a:lnTo>
                    <a:pt x="1282698" y="1036186"/>
                  </a:lnTo>
                  <a:lnTo>
                    <a:pt x="1284286" y="1039339"/>
                  </a:lnTo>
                  <a:lnTo>
                    <a:pt x="1285873" y="1044857"/>
                  </a:lnTo>
                  <a:lnTo>
                    <a:pt x="1285873" y="1046433"/>
                  </a:lnTo>
                  <a:lnTo>
                    <a:pt x="1285873" y="1051163"/>
                  </a:lnTo>
                  <a:lnTo>
                    <a:pt x="1285873" y="1054316"/>
                  </a:lnTo>
                  <a:lnTo>
                    <a:pt x="1285873" y="1057469"/>
                  </a:lnTo>
                  <a:lnTo>
                    <a:pt x="1284286" y="1061411"/>
                  </a:lnTo>
                  <a:lnTo>
                    <a:pt x="1282698" y="1064564"/>
                  </a:lnTo>
                  <a:lnTo>
                    <a:pt x="1281111" y="1067717"/>
                  </a:lnTo>
                  <a:lnTo>
                    <a:pt x="1281111" y="1072447"/>
                  </a:lnTo>
                  <a:lnTo>
                    <a:pt x="1277936" y="1074811"/>
                  </a:lnTo>
                  <a:lnTo>
                    <a:pt x="1274761" y="1077964"/>
                  </a:lnTo>
                  <a:lnTo>
                    <a:pt x="1271586" y="1079541"/>
                  </a:lnTo>
                  <a:lnTo>
                    <a:pt x="1269204" y="1081118"/>
                  </a:lnTo>
                  <a:lnTo>
                    <a:pt x="1266029" y="1082694"/>
                  </a:lnTo>
                  <a:lnTo>
                    <a:pt x="1262854" y="1084271"/>
                  </a:lnTo>
                  <a:lnTo>
                    <a:pt x="1258092" y="1084271"/>
                  </a:lnTo>
                  <a:lnTo>
                    <a:pt x="1255711" y="1085847"/>
                  </a:lnTo>
                  <a:lnTo>
                    <a:pt x="1252536" y="1085847"/>
                  </a:lnTo>
                  <a:lnTo>
                    <a:pt x="1247773" y="1085847"/>
                  </a:lnTo>
                  <a:lnTo>
                    <a:pt x="1244598" y="1085847"/>
                  </a:lnTo>
                  <a:lnTo>
                    <a:pt x="1243011" y="1085847"/>
                  </a:lnTo>
                  <a:lnTo>
                    <a:pt x="1240629" y="1085847"/>
                  </a:lnTo>
                  <a:lnTo>
                    <a:pt x="1239042" y="1085847"/>
                  </a:lnTo>
                  <a:lnTo>
                    <a:pt x="1158873" y="1029091"/>
                  </a:lnTo>
                  <a:lnTo>
                    <a:pt x="1157285" y="1027515"/>
                  </a:lnTo>
                  <a:lnTo>
                    <a:pt x="1157285" y="1025938"/>
                  </a:lnTo>
                  <a:lnTo>
                    <a:pt x="1155698" y="1022785"/>
                  </a:lnTo>
                  <a:lnTo>
                    <a:pt x="1155698" y="1019632"/>
                  </a:lnTo>
                  <a:lnTo>
                    <a:pt x="1154110" y="1016479"/>
                  </a:lnTo>
                  <a:lnTo>
                    <a:pt x="1154110" y="1012538"/>
                  </a:lnTo>
                  <a:lnTo>
                    <a:pt x="1154110" y="1007808"/>
                  </a:lnTo>
                  <a:lnTo>
                    <a:pt x="1155698" y="1003078"/>
                  </a:lnTo>
                  <a:lnTo>
                    <a:pt x="1155698" y="997560"/>
                  </a:lnTo>
                  <a:lnTo>
                    <a:pt x="1158873" y="992831"/>
                  </a:lnTo>
                  <a:lnTo>
                    <a:pt x="1162048" y="988101"/>
                  </a:lnTo>
                  <a:lnTo>
                    <a:pt x="1166017" y="984160"/>
                  </a:lnTo>
                  <a:lnTo>
                    <a:pt x="1167604" y="982583"/>
                  </a:lnTo>
                  <a:lnTo>
                    <a:pt x="1172367" y="981007"/>
                  </a:lnTo>
                  <a:lnTo>
                    <a:pt x="1175542" y="977853"/>
                  </a:lnTo>
                  <a:lnTo>
                    <a:pt x="1178717" y="976277"/>
                  </a:lnTo>
                  <a:lnTo>
                    <a:pt x="1182685" y="974700"/>
                  </a:lnTo>
                  <a:lnTo>
                    <a:pt x="1187448" y="973124"/>
                  </a:lnTo>
                  <a:close/>
                  <a:moveTo>
                    <a:pt x="342104" y="971547"/>
                  </a:moveTo>
                  <a:lnTo>
                    <a:pt x="346866" y="971547"/>
                  </a:lnTo>
                  <a:lnTo>
                    <a:pt x="350835" y="973124"/>
                  </a:lnTo>
                  <a:lnTo>
                    <a:pt x="355598" y="974700"/>
                  </a:lnTo>
                  <a:lnTo>
                    <a:pt x="360360" y="976277"/>
                  </a:lnTo>
                  <a:lnTo>
                    <a:pt x="364329" y="977853"/>
                  </a:lnTo>
                  <a:lnTo>
                    <a:pt x="367504" y="981007"/>
                  </a:lnTo>
                  <a:lnTo>
                    <a:pt x="370679" y="982583"/>
                  </a:lnTo>
                  <a:lnTo>
                    <a:pt x="373854" y="984160"/>
                  </a:lnTo>
                  <a:lnTo>
                    <a:pt x="377029" y="988101"/>
                  </a:lnTo>
                  <a:lnTo>
                    <a:pt x="380998" y="992831"/>
                  </a:lnTo>
                  <a:lnTo>
                    <a:pt x="382585" y="997560"/>
                  </a:lnTo>
                  <a:lnTo>
                    <a:pt x="384173" y="1003078"/>
                  </a:lnTo>
                  <a:lnTo>
                    <a:pt x="384173" y="1007808"/>
                  </a:lnTo>
                  <a:lnTo>
                    <a:pt x="385760" y="1012538"/>
                  </a:lnTo>
                  <a:lnTo>
                    <a:pt x="384173" y="1016479"/>
                  </a:lnTo>
                  <a:lnTo>
                    <a:pt x="384173" y="1019632"/>
                  </a:lnTo>
                  <a:lnTo>
                    <a:pt x="382585" y="1022785"/>
                  </a:lnTo>
                  <a:lnTo>
                    <a:pt x="382585" y="1025938"/>
                  </a:lnTo>
                  <a:lnTo>
                    <a:pt x="382585" y="1027515"/>
                  </a:lnTo>
                  <a:lnTo>
                    <a:pt x="382585" y="1029091"/>
                  </a:lnTo>
                  <a:lnTo>
                    <a:pt x="302416" y="1085847"/>
                  </a:lnTo>
                  <a:lnTo>
                    <a:pt x="300035" y="1085847"/>
                  </a:lnTo>
                  <a:lnTo>
                    <a:pt x="296860" y="1085847"/>
                  </a:lnTo>
                  <a:lnTo>
                    <a:pt x="290510" y="1085847"/>
                  </a:lnTo>
                  <a:lnTo>
                    <a:pt x="285748" y="1085847"/>
                  </a:lnTo>
                  <a:lnTo>
                    <a:pt x="281779" y="1084271"/>
                  </a:lnTo>
                  <a:lnTo>
                    <a:pt x="278604" y="1084271"/>
                  </a:lnTo>
                  <a:lnTo>
                    <a:pt x="275429" y="1082694"/>
                  </a:lnTo>
                  <a:lnTo>
                    <a:pt x="272254" y="1081118"/>
                  </a:lnTo>
                  <a:lnTo>
                    <a:pt x="268285" y="1079541"/>
                  </a:lnTo>
                  <a:lnTo>
                    <a:pt x="266698" y="1077964"/>
                  </a:lnTo>
                  <a:lnTo>
                    <a:pt x="263523" y="1074811"/>
                  </a:lnTo>
                  <a:lnTo>
                    <a:pt x="261935" y="1072447"/>
                  </a:lnTo>
                  <a:lnTo>
                    <a:pt x="258760" y="1067717"/>
                  </a:lnTo>
                  <a:lnTo>
                    <a:pt x="257173" y="1064564"/>
                  </a:lnTo>
                  <a:lnTo>
                    <a:pt x="257173" y="1061411"/>
                  </a:lnTo>
                  <a:lnTo>
                    <a:pt x="255585" y="1057469"/>
                  </a:lnTo>
                  <a:lnTo>
                    <a:pt x="255585" y="1054316"/>
                  </a:lnTo>
                  <a:lnTo>
                    <a:pt x="255585" y="1051163"/>
                  </a:lnTo>
                  <a:lnTo>
                    <a:pt x="255585" y="1046433"/>
                  </a:lnTo>
                  <a:lnTo>
                    <a:pt x="255585" y="1044857"/>
                  </a:lnTo>
                  <a:lnTo>
                    <a:pt x="255585" y="1039339"/>
                  </a:lnTo>
                  <a:lnTo>
                    <a:pt x="257173" y="1036186"/>
                  </a:lnTo>
                  <a:lnTo>
                    <a:pt x="257173" y="1031456"/>
                  </a:lnTo>
                  <a:lnTo>
                    <a:pt x="258760" y="1031456"/>
                  </a:lnTo>
                  <a:close/>
                  <a:moveTo>
                    <a:pt x="205445" y="739772"/>
                  </a:moveTo>
                  <a:lnTo>
                    <a:pt x="304122" y="739772"/>
                  </a:lnTo>
                  <a:lnTo>
                    <a:pt x="305701" y="739772"/>
                  </a:lnTo>
                  <a:lnTo>
                    <a:pt x="310437" y="744429"/>
                  </a:lnTo>
                  <a:lnTo>
                    <a:pt x="313595" y="745981"/>
                  </a:lnTo>
                  <a:lnTo>
                    <a:pt x="315963" y="749086"/>
                  </a:lnTo>
                  <a:lnTo>
                    <a:pt x="317542" y="752190"/>
                  </a:lnTo>
                  <a:lnTo>
                    <a:pt x="322279" y="757623"/>
                  </a:lnTo>
                  <a:lnTo>
                    <a:pt x="322279" y="762279"/>
                  </a:lnTo>
                  <a:lnTo>
                    <a:pt x="325436" y="766936"/>
                  </a:lnTo>
                  <a:lnTo>
                    <a:pt x="323857" y="772369"/>
                  </a:lnTo>
                  <a:lnTo>
                    <a:pt x="323857" y="778578"/>
                  </a:lnTo>
                  <a:lnTo>
                    <a:pt x="322279" y="781682"/>
                  </a:lnTo>
                  <a:lnTo>
                    <a:pt x="322279" y="784787"/>
                  </a:lnTo>
                  <a:lnTo>
                    <a:pt x="320700" y="787115"/>
                  </a:lnTo>
                  <a:lnTo>
                    <a:pt x="317542" y="791772"/>
                  </a:lnTo>
                  <a:lnTo>
                    <a:pt x="315963" y="794876"/>
                  </a:lnTo>
                  <a:lnTo>
                    <a:pt x="313595" y="799533"/>
                  </a:lnTo>
                  <a:lnTo>
                    <a:pt x="310437" y="803413"/>
                  </a:lnTo>
                  <a:lnTo>
                    <a:pt x="307280" y="806518"/>
                  </a:lnTo>
                  <a:lnTo>
                    <a:pt x="205445" y="809622"/>
                  </a:lnTo>
                  <a:lnTo>
                    <a:pt x="203866" y="808070"/>
                  </a:lnTo>
                  <a:lnTo>
                    <a:pt x="200709" y="806518"/>
                  </a:lnTo>
                  <a:lnTo>
                    <a:pt x="197551" y="803413"/>
                  </a:lnTo>
                  <a:lnTo>
                    <a:pt x="193604" y="800309"/>
                  </a:lnTo>
                  <a:lnTo>
                    <a:pt x="190446" y="794876"/>
                  </a:lnTo>
                  <a:lnTo>
                    <a:pt x="185710" y="788667"/>
                  </a:lnTo>
                  <a:lnTo>
                    <a:pt x="184131" y="785563"/>
                  </a:lnTo>
                  <a:lnTo>
                    <a:pt x="182552" y="783234"/>
                  </a:lnTo>
                  <a:lnTo>
                    <a:pt x="180973" y="778578"/>
                  </a:lnTo>
                  <a:lnTo>
                    <a:pt x="180973" y="775473"/>
                  </a:lnTo>
                  <a:lnTo>
                    <a:pt x="180973" y="770817"/>
                  </a:lnTo>
                  <a:lnTo>
                    <a:pt x="180973" y="766936"/>
                  </a:lnTo>
                  <a:lnTo>
                    <a:pt x="182552" y="763832"/>
                  </a:lnTo>
                  <a:lnTo>
                    <a:pt x="184131" y="760727"/>
                  </a:lnTo>
                  <a:lnTo>
                    <a:pt x="187289" y="755294"/>
                  </a:lnTo>
                  <a:lnTo>
                    <a:pt x="193604" y="749086"/>
                  </a:lnTo>
                  <a:lnTo>
                    <a:pt x="195972" y="744429"/>
                  </a:lnTo>
                  <a:lnTo>
                    <a:pt x="202287" y="741324"/>
                  </a:lnTo>
                  <a:close/>
                  <a:moveTo>
                    <a:pt x="1237454" y="441322"/>
                  </a:moveTo>
                  <a:lnTo>
                    <a:pt x="1239042" y="441322"/>
                  </a:lnTo>
                  <a:lnTo>
                    <a:pt x="1241423" y="441322"/>
                  </a:lnTo>
                  <a:lnTo>
                    <a:pt x="1243011" y="441322"/>
                  </a:lnTo>
                  <a:lnTo>
                    <a:pt x="1246186" y="441322"/>
                  </a:lnTo>
                  <a:lnTo>
                    <a:pt x="1249361" y="441322"/>
                  </a:lnTo>
                  <a:lnTo>
                    <a:pt x="1254123" y="441322"/>
                  </a:lnTo>
                  <a:lnTo>
                    <a:pt x="1256504" y="441322"/>
                  </a:lnTo>
                  <a:lnTo>
                    <a:pt x="1259679" y="442910"/>
                  </a:lnTo>
                  <a:lnTo>
                    <a:pt x="1262854" y="442910"/>
                  </a:lnTo>
                  <a:lnTo>
                    <a:pt x="1267617" y="446085"/>
                  </a:lnTo>
                  <a:lnTo>
                    <a:pt x="1270792" y="447672"/>
                  </a:lnTo>
                  <a:lnTo>
                    <a:pt x="1273173" y="449260"/>
                  </a:lnTo>
                  <a:lnTo>
                    <a:pt x="1274761" y="453229"/>
                  </a:lnTo>
                  <a:lnTo>
                    <a:pt x="1277936" y="456404"/>
                  </a:lnTo>
                  <a:lnTo>
                    <a:pt x="1281111" y="462754"/>
                  </a:lnTo>
                  <a:lnTo>
                    <a:pt x="1284286" y="468310"/>
                  </a:lnTo>
                  <a:lnTo>
                    <a:pt x="1284286" y="473072"/>
                  </a:lnTo>
                  <a:lnTo>
                    <a:pt x="1284286" y="476247"/>
                  </a:lnTo>
                  <a:lnTo>
                    <a:pt x="1284286" y="479422"/>
                  </a:lnTo>
                  <a:lnTo>
                    <a:pt x="1285873" y="481804"/>
                  </a:lnTo>
                  <a:lnTo>
                    <a:pt x="1284286" y="488154"/>
                  </a:lnTo>
                  <a:lnTo>
                    <a:pt x="1282698" y="491329"/>
                  </a:lnTo>
                  <a:lnTo>
                    <a:pt x="1281111" y="495297"/>
                  </a:lnTo>
                  <a:lnTo>
                    <a:pt x="1197767" y="557210"/>
                  </a:lnTo>
                  <a:lnTo>
                    <a:pt x="1192210" y="556416"/>
                  </a:lnTo>
                  <a:lnTo>
                    <a:pt x="1187448" y="554829"/>
                  </a:lnTo>
                  <a:lnTo>
                    <a:pt x="1182685" y="553241"/>
                  </a:lnTo>
                  <a:lnTo>
                    <a:pt x="1178717" y="553241"/>
                  </a:lnTo>
                  <a:lnTo>
                    <a:pt x="1175542" y="550066"/>
                  </a:lnTo>
                  <a:lnTo>
                    <a:pt x="1172367" y="548479"/>
                  </a:lnTo>
                  <a:lnTo>
                    <a:pt x="1167604" y="546891"/>
                  </a:lnTo>
                  <a:lnTo>
                    <a:pt x="1166017" y="545304"/>
                  </a:lnTo>
                  <a:lnTo>
                    <a:pt x="1162048" y="541335"/>
                  </a:lnTo>
                  <a:lnTo>
                    <a:pt x="1158873" y="536573"/>
                  </a:lnTo>
                  <a:lnTo>
                    <a:pt x="1155698" y="531810"/>
                  </a:lnTo>
                  <a:lnTo>
                    <a:pt x="1155698" y="527048"/>
                  </a:lnTo>
                  <a:lnTo>
                    <a:pt x="1154110" y="521491"/>
                  </a:lnTo>
                  <a:lnTo>
                    <a:pt x="1154110" y="518316"/>
                  </a:lnTo>
                  <a:lnTo>
                    <a:pt x="1155698" y="513554"/>
                  </a:lnTo>
                  <a:lnTo>
                    <a:pt x="1155698" y="510379"/>
                  </a:lnTo>
                  <a:lnTo>
                    <a:pt x="1155698" y="506410"/>
                  </a:lnTo>
                  <a:lnTo>
                    <a:pt x="1157285" y="504823"/>
                  </a:lnTo>
                  <a:lnTo>
                    <a:pt x="1157285" y="503235"/>
                  </a:lnTo>
                  <a:lnTo>
                    <a:pt x="1158873" y="503235"/>
                  </a:lnTo>
                  <a:close/>
                  <a:moveTo>
                    <a:pt x="274801" y="441322"/>
                  </a:moveTo>
                  <a:lnTo>
                    <a:pt x="279593" y="441322"/>
                  </a:lnTo>
                  <a:lnTo>
                    <a:pt x="285183" y="441322"/>
                  </a:lnTo>
                  <a:lnTo>
                    <a:pt x="289975" y="441322"/>
                  </a:lnTo>
                  <a:lnTo>
                    <a:pt x="294767" y="441322"/>
                  </a:lnTo>
                  <a:lnTo>
                    <a:pt x="296364" y="441322"/>
                  </a:lnTo>
                  <a:lnTo>
                    <a:pt x="377025" y="503235"/>
                  </a:lnTo>
                  <a:lnTo>
                    <a:pt x="377025" y="504823"/>
                  </a:lnTo>
                  <a:lnTo>
                    <a:pt x="377025" y="506410"/>
                  </a:lnTo>
                  <a:lnTo>
                    <a:pt x="377823" y="510379"/>
                  </a:lnTo>
                  <a:lnTo>
                    <a:pt x="377823" y="513554"/>
                  </a:lnTo>
                  <a:lnTo>
                    <a:pt x="377823" y="518316"/>
                  </a:lnTo>
                  <a:lnTo>
                    <a:pt x="377823" y="521491"/>
                  </a:lnTo>
                  <a:lnTo>
                    <a:pt x="377823" y="527048"/>
                  </a:lnTo>
                  <a:lnTo>
                    <a:pt x="377025" y="531810"/>
                  </a:lnTo>
                  <a:lnTo>
                    <a:pt x="373830" y="536573"/>
                  </a:lnTo>
                  <a:lnTo>
                    <a:pt x="370636" y="541335"/>
                  </a:lnTo>
                  <a:lnTo>
                    <a:pt x="367441" y="545304"/>
                  </a:lnTo>
                  <a:lnTo>
                    <a:pt x="364247" y="546891"/>
                  </a:lnTo>
                  <a:lnTo>
                    <a:pt x="360254" y="548479"/>
                  </a:lnTo>
                  <a:lnTo>
                    <a:pt x="357059" y="550066"/>
                  </a:lnTo>
                  <a:lnTo>
                    <a:pt x="353865" y="553241"/>
                  </a:lnTo>
                  <a:lnTo>
                    <a:pt x="349073" y="553241"/>
                  </a:lnTo>
                  <a:lnTo>
                    <a:pt x="345080" y="554829"/>
                  </a:lnTo>
                  <a:lnTo>
                    <a:pt x="340288" y="556416"/>
                  </a:lnTo>
                  <a:lnTo>
                    <a:pt x="335496" y="557210"/>
                  </a:lnTo>
                  <a:lnTo>
                    <a:pt x="252440" y="495297"/>
                  </a:lnTo>
                  <a:lnTo>
                    <a:pt x="250843" y="495297"/>
                  </a:lnTo>
                  <a:lnTo>
                    <a:pt x="249245" y="491329"/>
                  </a:lnTo>
                  <a:lnTo>
                    <a:pt x="249245" y="488154"/>
                  </a:lnTo>
                  <a:lnTo>
                    <a:pt x="249245" y="481804"/>
                  </a:lnTo>
                  <a:lnTo>
                    <a:pt x="247648" y="479422"/>
                  </a:lnTo>
                  <a:lnTo>
                    <a:pt x="247648" y="476247"/>
                  </a:lnTo>
                  <a:lnTo>
                    <a:pt x="247648" y="473072"/>
                  </a:lnTo>
                  <a:lnTo>
                    <a:pt x="249245" y="468310"/>
                  </a:lnTo>
                  <a:lnTo>
                    <a:pt x="250843" y="462754"/>
                  </a:lnTo>
                  <a:lnTo>
                    <a:pt x="253239" y="456404"/>
                  </a:lnTo>
                  <a:lnTo>
                    <a:pt x="256433" y="453229"/>
                  </a:lnTo>
                  <a:lnTo>
                    <a:pt x="258030" y="449260"/>
                  </a:lnTo>
                  <a:lnTo>
                    <a:pt x="261225" y="447672"/>
                  </a:lnTo>
                  <a:lnTo>
                    <a:pt x="264419" y="446085"/>
                  </a:lnTo>
                  <a:lnTo>
                    <a:pt x="267614" y="442910"/>
                  </a:lnTo>
                  <a:lnTo>
                    <a:pt x="271607" y="442910"/>
                  </a:lnTo>
                  <a:close/>
                  <a:moveTo>
                    <a:pt x="1041521" y="423860"/>
                  </a:moveTo>
                  <a:lnTo>
                    <a:pt x="1044691" y="423860"/>
                  </a:lnTo>
                  <a:lnTo>
                    <a:pt x="1047861" y="423860"/>
                  </a:lnTo>
                  <a:lnTo>
                    <a:pt x="1051030" y="425445"/>
                  </a:lnTo>
                  <a:lnTo>
                    <a:pt x="1056577" y="427030"/>
                  </a:lnTo>
                  <a:lnTo>
                    <a:pt x="1061332" y="430199"/>
                  </a:lnTo>
                  <a:lnTo>
                    <a:pt x="1067671" y="433368"/>
                  </a:lnTo>
                  <a:lnTo>
                    <a:pt x="1074803" y="435745"/>
                  </a:lnTo>
                  <a:lnTo>
                    <a:pt x="1081143" y="440499"/>
                  </a:lnTo>
                  <a:lnTo>
                    <a:pt x="1086690" y="445254"/>
                  </a:lnTo>
                  <a:lnTo>
                    <a:pt x="1089860" y="448423"/>
                  </a:lnTo>
                  <a:lnTo>
                    <a:pt x="1093030" y="450800"/>
                  </a:lnTo>
                  <a:lnTo>
                    <a:pt x="1096199" y="453969"/>
                  </a:lnTo>
                  <a:lnTo>
                    <a:pt x="1099369" y="458723"/>
                  </a:lnTo>
                  <a:lnTo>
                    <a:pt x="1101746" y="461893"/>
                  </a:lnTo>
                  <a:lnTo>
                    <a:pt x="1103331" y="464270"/>
                  </a:lnTo>
                  <a:lnTo>
                    <a:pt x="1106501" y="469024"/>
                  </a:lnTo>
                  <a:lnTo>
                    <a:pt x="1109671" y="475363"/>
                  </a:lnTo>
                  <a:lnTo>
                    <a:pt x="1109671" y="479324"/>
                  </a:lnTo>
                  <a:lnTo>
                    <a:pt x="1112840" y="484078"/>
                  </a:lnTo>
                  <a:lnTo>
                    <a:pt x="1114425" y="490417"/>
                  </a:lnTo>
                  <a:lnTo>
                    <a:pt x="1116010" y="497548"/>
                  </a:lnTo>
                  <a:lnTo>
                    <a:pt x="881703" y="714372"/>
                  </a:lnTo>
                  <a:lnTo>
                    <a:pt x="1353360" y="714372"/>
                  </a:lnTo>
                  <a:lnTo>
                    <a:pt x="1354946" y="715943"/>
                  </a:lnTo>
                  <a:lnTo>
                    <a:pt x="1359703" y="720655"/>
                  </a:lnTo>
                  <a:lnTo>
                    <a:pt x="1361289" y="723797"/>
                  </a:lnTo>
                  <a:lnTo>
                    <a:pt x="1362875" y="727724"/>
                  </a:lnTo>
                  <a:lnTo>
                    <a:pt x="1365254" y="732436"/>
                  </a:lnTo>
                  <a:lnTo>
                    <a:pt x="1368425" y="737149"/>
                  </a:lnTo>
                  <a:lnTo>
                    <a:pt x="1368425" y="742647"/>
                  </a:lnTo>
                  <a:lnTo>
                    <a:pt x="1370011" y="748930"/>
                  </a:lnTo>
                  <a:lnTo>
                    <a:pt x="1368425" y="755213"/>
                  </a:lnTo>
                  <a:lnTo>
                    <a:pt x="1368425" y="760711"/>
                  </a:lnTo>
                  <a:lnTo>
                    <a:pt x="1366840" y="763852"/>
                  </a:lnTo>
                  <a:lnTo>
                    <a:pt x="1365254" y="768565"/>
                  </a:lnTo>
                  <a:lnTo>
                    <a:pt x="1364461" y="770921"/>
                  </a:lnTo>
                  <a:lnTo>
                    <a:pt x="1362875" y="774063"/>
                  </a:lnTo>
                  <a:lnTo>
                    <a:pt x="1359703" y="778775"/>
                  </a:lnTo>
                  <a:lnTo>
                    <a:pt x="1356532" y="781917"/>
                  </a:lnTo>
                  <a:lnTo>
                    <a:pt x="1353360" y="785058"/>
                  </a:lnTo>
                  <a:lnTo>
                    <a:pt x="1348602" y="788985"/>
                  </a:lnTo>
                  <a:lnTo>
                    <a:pt x="848977" y="788985"/>
                  </a:lnTo>
                  <a:lnTo>
                    <a:pt x="848449" y="790814"/>
                  </a:lnTo>
                  <a:lnTo>
                    <a:pt x="845249" y="795558"/>
                  </a:lnTo>
                  <a:lnTo>
                    <a:pt x="843649" y="798720"/>
                  </a:lnTo>
                  <a:lnTo>
                    <a:pt x="840449" y="802674"/>
                  </a:lnTo>
                  <a:lnTo>
                    <a:pt x="839649" y="807418"/>
                  </a:lnTo>
                  <a:lnTo>
                    <a:pt x="836449" y="810580"/>
                  </a:lnTo>
                  <a:lnTo>
                    <a:pt x="833250" y="815324"/>
                  </a:lnTo>
                  <a:lnTo>
                    <a:pt x="830050" y="817696"/>
                  </a:lnTo>
                  <a:lnTo>
                    <a:pt x="826850" y="822440"/>
                  </a:lnTo>
                  <a:lnTo>
                    <a:pt x="822850" y="825603"/>
                  </a:lnTo>
                  <a:lnTo>
                    <a:pt x="818051" y="828765"/>
                  </a:lnTo>
                  <a:lnTo>
                    <a:pt x="814851" y="831137"/>
                  </a:lnTo>
                  <a:lnTo>
                    <a:pt x="811651" y="834300"/>
                  </a:lnTo>
                  <a:lnTo>
                    <a:pt x="807651" y="837463"/>
                  </a:lnTo>
                  <a:lnTo>
                    <a:pt x="802851" y="840625"/>
                  </a:lnTo>
                  <a:lnTo>
                    <a:pt x="798052" y="842207"/>
                  </a:lnTo>
                  <a:lnTo>
                    <a:pt x="794052" y="843788"/>
                  </a:lnTo>
                  <a:lnTo>
                    <a:pt x="789252" y="845369"/>
                  </a:lnTo>
                  <a:lnTo>
                    <a:pt x="784453" y="846160"/>
                  </a:lnTo>
                  <a:lnTo>
                    <a:pt x="779653" y="847741"/>
                  </a:lnTo>
                  <a:lnTo>
                    <a:pt x="774053" y="849323"/>
                  </a:lnTo>
                  <a:lnTo>
                    <a:pt x="769253" y="850904"/>
                  </a:lnTo>
                  <a:lnTo>
                    <a:pt x="764454" y="850904"/>
                  </a:lnTo>
                  <a:lnTo>
                    <a:pt x="760454" y="852485"/>
                  </a:lnTo>
                  <a:lnTo>
                    <a:pt x="754054" y="852485"/>
                  </a:lnTo>
                  <a:lnTo>
                    <a:pt x="749255" y="852485"/>
                  </a:lnTo>
                  <a:lnTo>
                    <a:pt x="743655" y="850904"/>
                  </a:lnTo>
                  <a:lnTo>
                    <a:pt x="738855" y="850904"/>
                  </a:lnTo>
                  <a:lnTo>
                    <a:pt x="735151" y="849989"/>
                  </a:lnTo>
                  <a:lnTo>
                    <a:pt x="711867" y="871535"/>
                  </a:lnTo>
                  <a:lnTo>
                    <a:pt x="710282" y="871535"/>
                  </a:lnTo>
                  <a:lnTo>
                    <a:pt x="707112" y="871535"/>
                  </a:lnTo>
                  <a:lnTo>
                    <a:pt x="703942" y="871535"/>
                  </a:lnTo>
                  <a:lnTo>
                    <a:pt x="701565" y="871535"/>
                  </a:lnTo>
                  <a:lnTo>
                    <a:pt x="698395" y="871535"/>
                  </a:lnTo>
                  <a:lnTo>
                    <a:pt x="695226" y="871535"/>
                  </a:lnTo>
                  <a:lnTo>
                    <a:pt x="692056" y="869951"/>
                  </a:lnTo>
                  <a:lnTo>
                    <a:pt x="687301" y="868366"/>
                  </a:lnTo>
                  <a:lnTo>
                    <a:pt x="683339" y="866781"/>
                  </a:lnTo>
                  <a:lnTo>
                    <a:pt x="678584" y="865196"/>
                  </a:lnTo>
                  <a:lnTo>
                    <a:pt x="673830" y="862027"/>
                  </a:lnTo>
                  <a:lnTo>
                    <a:pt x="669868" y="859650"/>
                  </a:lnTo>
                  <a:lnTo>
                    <a:pt x="663528" y="854896"/>
                  </a:lnTo>
                  <a:lnTo>
                    <a:pt x="658774" y="850142"/>
                  </a:lnTo>
                  <a:lnTo>
                    <a:pt x="654811" y="845388"/>
                  </a:lnTo>
                  <a:lnTo>
                    <a:pt x="650057" y="839841"/>
                  </a:lnTo>
                  <a:lnTo>
                    <a:pt x="646887" y="833503"/>
                  </a:lnTo>
                  <a:lnTo>
                    <a:pt x="643717" y="829541"/>
                  </a:lnTo>
                  <a:lnTo>
                    <a:pt x="642132" y="824787"/>
                  </a:lnTo>
                  <a:lnTo>
                    <a:pt x="639755" y="820033"/>
                  </a:lnTo>
                  <a:lnTo>
                    <a:pt x="639755" y="816863"/>
                  </a:lnTo>
                  <a:lnTo>
                    <a:pt x="638170" y="814486"/>
                  </a:lnTo>
                  <a:lnTo>
                    <a:pt x="636585" y="809732"/>
                  </a:lnTo>
                  <a:lnTo>
                    <a:pt x="636585" y="806563"/>
                  </a:lnTo>
                  <a:lnTo>
                    <a:pt x="636585" y="803394"/>
                  </a:lnTo>
                  <a:lnTo>
                    <a:pt x="636585" y="801809"/>
                  </a:lnTo>
                  <a:lnTo>
                    <a:pt x="636585" y="799432"/>
                  </a:lnTo>
                  <a:lnTo>
                    <a:pt x="638170" y="799432"/>
                  </a:lnTo>
                  <a:lnTo>
                    <a:pt x="649389" y="788985"/>
                  </a:lnTo>
                  <a:lnTo>
                    <a:pt x="629421" y="788985"/>
                  </a:lnTo>
                  <a:lnTo>
                    <a:pt x="627835" y="787414"/>
                  </a:lnTo>
                  <a:lnTo>
                    <a:pt x="626250" y="787414"/>
                  </a:lnTo>
                  <a:lnTo>
                    <a:pt x="622285" y="785058"/>
                  </a:lnTo>
                  <a:lnTo>
                    <a:pt x="619113" y="781917"/>
                  </a:lnTo>
                  <a:lnTo>
                    <a:pt x="615942" y="777204"/>
                  </a:lnTo>
                  <a:lnTo>
                    <a:pt x="612770" y="770921"/>
                  </a:lnTo>
                  <a:lnTo>
                    <a:pt x="611184" y="768565"/>
                  </a:lnTo>
                  <a:lnTo>
                    <a:pt x="609598" y="763852"/>
                  </a:lnTo>
                  <a:lnTo>
                    <a:pt x="609598" y="759140"/>
                  </a:lnTo>
                  <a:lnTo>
                    <a:pt x="609598" y="755213"/>
                  </a:lnTo>
                  <a:lnTo>
                    <a:pt x="609598" y="748930"/>
                  </a:lnTo>
                  <a:lnTo>
                    <a:pt x="609598" y="745788"/>
                  </a:lnTo>
                  <a:lnTo>
                    <a:pt x="611184" y="739505"/>
                  </a:lnTo>
                  <a:lnTo>
                    <a:pt x="612770" y="737149"/>
                  </a:lnTo>
                  <a:lnTo>
                    <a:pt x="614356" y="732436"/>
                  </a:lnTo>
                  <a:lnTo>
                    <a:pt x="617527" y="729295"/>
                  </a:lnTo>
                  <a:lnTo>
                    <a:pt x="619113" y="726153"/>
                  </a:lnTo>
                  <a:lnTo>
                    <a:pt x="622285" y="724582"/>
                  </a:lnTo>
                  <a:lnTo>
                    <a:pt x="626250" y="720655"/>
                  </a:lnTo>
                  <a:lnTo>
                    <a:pt x="631007" y="717514"/>
                  </a:lnTo>
                  <a:lnTo>
                    <a:pt x="634179" y="714372"/>
                  </a:lnTo>
                  <a:lnTo>
                    <a:pt x="635765" y="714372"/>
                  </a:lnTo>
                  <a:lnTo>
                    <a:pt x="658508" y="714372"/>
                  </a:lnTo>
                  <a:lnTo>
                    <a:pt x="659660" y="710957"/>
                  </a:lnTo>
                  <a:lnTo>
                    <a:pt x="661260" y="707004"/>
                  </a:lnTo>
                  <a:lnTo>
                    <a:pt x="662860" y="702260"/>
                  </a:lnTo>
                  <a:lnTo>
                    <a:pt x="666059" y="697516"/>
                  </a:lnTo>
                  <a:lnTo>
                    <a:pt x="669259" y="693562"/>
                  </a:lnTo>
                  <a:lnTo>
                    <a:pt x="671659" y="690400"/>
                  </a:lnTo>
                  <a:lnTo>
                    <a:pt x="674859" y="685656"/>
                  </a:lnTo>
                  <a:lnTo>
                    <a:pt x="678059" y="682493"/>
                  </a:lnTo>
                  <a:lnTo>
                    <a:pt x="681259" y="679330"/>
                  </a:lnTo>
                  <a:lnTo>
                    <a:pt x="684458" y="675377"/>
                  </a:lnTo>
                  <a:lnTo>
                    <a:pt x="688458" y="672214"/>
                  </a:lnTo>
                  <a:lnTo>
                    <a:pt x="691658" y="669052"/>
                  </a:lnTo>
                  <a:lnTo>
                    <a:pt x="696458" y="665889"/>
                  </a:lnTo>
                  <a:lnTo>
                    <a:pt x="701257" y="663517"/>
                  </a:lnTo>
                  <a:lnTo>
                    <a:pt x="705257" y="661936"/>
                  </a:lnTo>
                  <a:lnTo>
                    <a:pt x="710057" y="658773"/>
                  </a:lnTo>
                  <a:lnTo>
                    <a:pt x="714857" y="657192"/>
                  </a:lnTo>
                  <a:lnTo>
                    <a:pt x="718856" y="655611"/>
                  </a:lnTo>
                  <a:lnTo>
                    <a:pt x="723656" y="654029"/>
                  </a:lnTo>
                  <a:lnTo>
                    <a:pt x="728456" y="652448"/>
                  </a:lnTo>
                  <a:lnTo>
                    <a:pt x="732456" y="650867"/>
                  </a:lnTo>
                  <a:lnTo>
                    <a:pt x="738855" y="650867"/>
                  </a:lnTo>
                  <a:lnTo>
                    <a:pt x="743655" y="649285"/>
                  </a:lnTo>
                  <a:lnTo>
                    <a:pt x="749255" y="649285"/>
                  </a:lnTo>
                  <a:lnTo>
                    <a:pt x="754054" y="649285"/>
                  </a:lnTo>
                  <a:lnTo>
                    <a:pt x="760454" y="649285"/>
                  </a:lnTo>
                  <a:lnTo>
                    <a:pt x="764454" y="649285"/>
                  </a:lnTo>
                  <a:lnTo>
                    <a:pt x="769253" y="650867"/>
                  </a:lnTo>
                  <a:lnTo>
                    <a:pt x="774053" y="650867"/>
                  </a:lnTo>
                  <a:lnTo>
                    <a:pt x="779653" y="652448"/>
                  </a:lnTo>
                  <a:lnTo>
                    <a:pt x="784453" y="654029"/>
                  </a:lnTo>
                  <a:lnTo>
                    <a:pt x="789252" y="655611"/>
                  </a:lnTo>
                  <a:lnTo>
                    <a:pt x="791747" y="656432"/>
                  </a:lnTo>
                  <a:close/>
                  <a:moveTo>
                    <a:pt x="1036147" y="241297"/>
                  </a:moveTo>
                  <a:lnTo>
                    <a:pt x="1040088" y="241297"/>
                  </a:lnTo>
                  <a:lnTo>
                    <a:pt x="1043241" y="241297"/>
                  </a:lnTo>
                  <a:lnTo>
                    <a:pt x="1047970" y="241297"/>
                  </a:lnTo>
                  <a:lnTo>
                    <a:pt x="1051123" y="241297"/>
                  </a:lnTo>
                  <a:lnTo>
                    <a:pt x="1054276" y="242894"/>
                  </a:lnTo>
                  <a:lnTo>
                    <a:pt x="1056640" y="244491"/>
                  </a:lnTo>
                  <a:lnTo>
                    <a:pt x="1061370" y="247685"/>
                  </a:lnTo>
                  <a:lnTo>
                    <a:pt x="1066099" y="251678"/>
                  </a:lnTo>
                  <a:lnTo>
                    <a:pt x="1070828" y="258066"/>
                  </a:lnTo>
                  <a:lnTo>
                    <a:pt x="1073193" y="264454"/>
                  </a:lnTo>
                  <a:lnTo>
                    <a:pt x="1076345" y="270043"/>
                  </a:lnTo>
                  <a:lnTo>
                    <a:pt x="1076345" y="274834"/>
                  </a:lnTo>
                  <a:lnTo>
                    <a:pt x="1077922" y="279625"/>
                  </a:lnTo>
                  <a:lnTo>
                    <a:pt x="1077922" y="282021"/>
                  </a:lnTo>
                  <a:lnTo>
                    <a:pt x="1079498" y="283618"/>
                  </a:lnTo>
                  <a:lnTo>
                    <a:pt x="1025112" y="373050"/>
                  </a:lnTo>
                  <a:lnTo>
                    <a:pt x="1019595" y="373050"/>
                  </a:lnTo>
                  <a:lnTo>
                    <a:pt x="1014866" y="374647"/>
                  </a:lnTo>
                  <a:lnTo>
                    <a:pt x="1009348" y="374647"/>
                  </a:lnTo>
                  <a:lnTo>
                    <a:pt x="1006195" y="374647"/>
                  </a:lnTo>
                  <a:lnTo>
                    <a:pt x="1001466" y="374647"/>
                  </a:lnTo>
                  <a:lnTo>
                    <a:pt x="998313" y="373050"/>
                  </a:lnTo>
                  <a:lnTo>
                    <a:pt x="994372" y="373050"/>
                  </a:lnTo>
                  <a:lnTo>
                    <a:pt x="991220" y="373050"/>
                  </a:lnTo>
                  <a:lnTo>
                    <a:pt x="984914" y="370655"/>
                  </a:lnTo>
                  <a:lnTo>
                    <a:pt x="980185" y="367461"/>
                  </a:lnTo>
                  <a:lnTo>
                    <a:pt x="977820" y="364267"/>
                  </a:lnTo>
                  <a:lnTo>
                    <a:pt x="974667" y="359476"/>
                  </a:lnTo>
                  <a:lnTo>
                    <a:pt x="971514" y="355483"/>
                  </a:lnTo>
                  <a:lnTo>
                    <a:pt x="969938" y="350692"/>
                  </a:lnTo>
                  <a:lnTo>
                    <a:pt x="968362" y="347498"/>
                  </a:lnTo>
                  <a:lnTo>
                    <a:pt x="968362" y="342707"/>
                  </a:lnTo>
                  <a:lnTo>
                    <a:pt x="966785" y="338714"/>
                  </a:lnTo>
                  <a:lnTo>
                    <a:pt x="968362" y="335520"/>
                  </a:lnTo>
                  <a:lnTo>
                    <a:pt x="1018018" y="250081"/>
                  </a:lnTo>
                  <a:lnTo>
                    <a:pt x="1019595" y="249282"/>
                  </a:lnTo>
                  <a:lnTo>
                    <a:pt x="1022748" y="247685"/>
                  </a:lnTo>
                  <a:lnTo>
                    <a:pt x="1024324" y="246088"/>
                  </a:lnTo>
                  <a:lnTo>
                    <a:pt x="1026689" y="244491"/>
                  </a:lnTo>
                  <a:lnTo>
                    <a:pt x="1029841" y="242894"/>
                  </a:lnTo>
                  <a:lnTo>
                    <a:pt x="1032994" y="242894"/>
                  </a:lnTo>
                  <a:close/>
                  <a:moveTo>
                    <a:pt x="483192" y="241297"/>
                  </a:moveTo>
                  <a:lnTo>
                    <a:pt x="487132" y="241297"/>
                  </a:lnTo>
                  <a:lnTo>
                    <a:pt x="490284" y="241297"/>
                  </a:lnTo>
                  <a:lnTo>
                    <a:pt x="493436" y="241297"/>
                  </a:lnTo>
                  <a:lnTo>
                    <a:pt x="498165" y="241297"/>
                  </a:lnTo>
                  <a:lnTo>
                    <a:pt x="501317" y="242894"/>
                  </a:lnTo>
                  <a:lnTo>
                    <a:pt x="506833" y="244491"/>
                  </a:lnTo>
                  <a:lnTo>
                    <a:pt x="511561" y="247685"/>
                  </a:lnTo>
                  <a:lnTo>
                    <a:pt x="514713" y="249282"/>
                  </a:lnTo>
                  <a:lnTo>
                    <a:pt x="517078" y="250081"/>
                  </a:lnTo>
                  <a:lnTo>
                    <a:pt x="565148" y="335520"/>
                  </a:lnTo>
                  <a:lnTo>
                    <a:pt x="565148" y="338714"/>
                  </a:lnTo>
                  <a:lnTo>
                    <a:pt x="565148" y="342707"/>
                  </a:lnTo>
                  <a:lnTo>
                    <a:pt x="563572" y="347498"/>
                  </a:lnTo>
                  <a:lnTo>
                    <a:pt x="562784" y="350692"/>
                  </a:lnTo>
                  <a:lnTo>
                    <a:pt x="561208" y="355483"/>
                  </a:lnTo>
                  <a:lnTo>
                    <a:pt x="559632" y="359476"/>
                  </a:lnTo>
                  <a:lnTo>
                    <a:pt x="554904" y="364267"/>
                  </a:lnTo>
                  <a:lnTo>
                    <a:pt x="551752" y="367461"/>
                  </a:lnTo>
                  <a:lnTo>
                    <a:pt x="546235" y="370655"/>
                  </a:lnTo>
                  <a:lnTo>
                    <a:pt x="541507" y="373050"/>
                  </a:lnTo>
                  <a:lnTo>
                    <a:pt x="538355" y="373050"/>
                  </a:lnTo>
                  <a:lnTo>
                    <a:pt x="533627" y="373050"/>
                  </a:lnTo>
                  <a:lnTo>
                    <a:pt x="529686" y="374647"/>
                  </a:lnTo>
                  <a:lnTo>
                    <a:pt x="526534" y="374647"/>
                  </a:lnTo>
                  <a:lnTo>
                    <a:pt x="521806" y="374647"/>
                  </a:lnTo>
                  <a:lnTo>
                    <a:pt x="517078" y="374647"/>
                  </a:lnTo>
                  <a:lnTo>
                    <a:pt x="513137" y="373050"/>
                  </a:lnTo>
                  <a:lnTo>
                    <a:pt x="506833" y="373050"/>
                  </a:lnTo>
                  <a:lnTo>
                    <a:pt x="455610" y="283618"/>
                  </a:lnTo>
                  <a:lnTo>
                    <a:pt x="455610" y="282021"/>
                  </a:lnTo>
                  <a:lnTo>
                    <a:pt x="455610" y="279625"/>
                  </a:lnTo>
                  <a:lnTo>
                    <a:pt x="455610" y="274834"/>
                  </a:lnTo>
                  <a:lnTo>
                    <a:pt x="457186" y="270043"/>
                  </a:lnTo>
                  <a:lnTo>
                    <a:pt x="458762" y="264454"/>
                  </a:lnTo>
                  <a:lnTo>
                    <a:pt x="461915" y="258066"/>
                  </a:lnTo>
                  <a:lnTo>
                    <a:pt x="466643" y="251678"/>
                  </a:lnTo>
                  <a:lnTo>
                    <a:pt x="472159" y="247685"/>
                  </a:lnTo>
                  <a:lnTo>
                    <a:pt x="475311" y="244491"/>
                  </a:lnTo>
                  <a:lnTo>
                    <a:pt x="480040" y="242894"/>
                  </a:lnTo>
                  <a:close/>
                  <a:moveTo>
                    <a:pt x="749298" y="163510"/>
                  </a:moveTo>
                  <a:lnTo>
                    <a:pt x="754060" y="163510"/>
                  </a:lnTo>
                  <a:lnTo>
                    <a:pt x="758823" y="165089"/>
                  </a:lnTo>
                  <a:lnTo>
                    <a:pt x="761998" y="165089"/>
                  </a:lnTo>
                  <a:lnTo>
                    <a:pt x="764379" y="165089"/>
                  </a:lnTo>
                  <a:lnTo>
                    <a:pt x="769141" y="166668"/>
                  </a:lnTo>
                  <a:lnTo>
                    <a:pt x="772316" y="168247"/>
                  </a:lnTo>
                  <a:lnTo>
                    <a:pt x="777079" y="172983"/>
                  </a:lnTo>
                  <a:lnTo>
                    <a:pt x="782635" y="176930"/>
                  </a:lnTo>
                  <a:lnTo>
                    <a:pt x="785810" y="180088"/>
                  </a:lnTo>
                  <a:lnTo>
                    <a:pt x="788985" y="184824"/>
                  </a:lnTo>
                  <a:lnTo>
                    <a:pt x="792160" y="186403"/>
                  </a:lnTo>
                  <a:lnTo>
                    <a:pt x="792160" y="187982"/>
                  </a:lnTo>
                  <a:lnTo>
                    <a:pt x="792160" y="289817"/>
                  </a:lnTo>
                  <a:lnTo>
                    <a:pt x="785810" y="292974"/>
                  </a:lnTo>
                  <a:lnTo>
                    <a:pt x="782635" y="296132"/>
                  </a:lnTo>
                  <a:lnTo>
                    <a:pt x="778666" y="298500"/>
                  </a:lnTo>
                  <a:lnTo>
                    <a:pt x="775491" y="301658"/>
                  </a:lnTo>
                  <a:lnTo>
                    <a:pt x="770729" y="303237"/>
                  </a:lnTo>
                  <a:lnTo>
                    <a:pt x="767554" y="304815"/>
                  </a:lnTo>
                  <a:lnTo>
                    <a:pt x="764379" y="306394"/>
                  </a:lnTo>
                  <a:lnTo>
                    <a:pt x="761998" y="307973"/>
                  </a:lnTo>
                  <a:lnTo>
                    <a:pt x="754060" y="307973"/>
                  </a:lnTo>
                  <a:lnTo>
                    <a:pt x="749298" y="307973"/>
                  </a:lnTo>
                  <a:lnTo>
                    <a:pt x="743741" y="304815"/>
                  </a:lnTo>
                  <a:lnTo>
                    <a:pt x="740566" y="304815"/>
                  </a:lnTo>
                  <a:lnTo>
                    <a:pt x="734216" y="301658"/>
                  </a:lnTo>
                  <a:lnTo>
                    <a:pt x="731835" y="298500"/>
                  </a:lnTo>
                  <a:lnTo>
                    <a:pt x="728660" y="296132"/>
                  </a:lnTo>
                  <a:lnTo>
                    <a:pt x="727073" y="292974"/>
                  </a:lnTo>
                  <a:lnTo>
                    <a:pt x="722310" y="288238"/>
                  </a:lnTo>
                  <a:lnTo>
                    <a:pt x="722310" y="286659"/>
                  </a:lnTo>
                  <a:lnTo>
                    <a:pt x="722310" y="189561"/>
                  </a:lnTo>
                  <a:lnTo>
                    <a:pt x="722310" y="187982"/>
                  </a:lnTo>
                  <a:lnTo>
                    <a:pt x="723898" y="184824"/>
                  </a:lnTo>
                  <a:lnTo>
                    <a:pt x="727073" y="180088"/>
                  </a:lnTo>
                  <a:lnTo>
                    <a:pt x="731835" y="175351"/>
                  </a:lnTo>
                  <a:lnTo>
                    <a:pt x="737391" y="169825"/>
                  </a:lnTo>
                  <a:lnTo>
                    <a:pt x="743741" y="166668"/>
                  </a:lnTo>
                  <a:lnTo>
                    <a:pt x="746916" y="165089"/>
                  </a:lnTo>
                  <a:close/>
                  <a:moveTo>
                    <a:pt x="759617" y="98006"/>
                  </a:moveTo>
                  <a:cubicBezTo>
                    <a:pt x="394219" y="98006"/>
                    <a:pt x="98006" y="394219"/>
                    <a:pt x="98006" y="759616"/>
                  </a:cubicBezTo>
                  <a:cubicBezTo>
                    <a:pt x="98006" y="1125013"/>
                    <a:pt x="394219" y="1421226"/>
                    <a:pt x="759617" y="1421226"/>
                  </a:cubicBezTo>
                  <a:cubicBezTo>
                    <a:pt x="1125015" y="1421226"/>
                    <a:pt x="1421228" y="1125013"/>
                    <a:pt x="1421228" y="759616"/>
                  </a:cubicBezTo>
                  <a:cubicBezTo>
                    <a:pt x="1421228" y="394219"/>
                    <a:pt x="1125015" y="98006"/>
                    <a:pt x="759617" y="98006"/>
                  </a:cubicBezTo>
                  <a:close/>
                  <a:moveTo>
                    <a:pt x="759617" y="0"/>
                  </a:moveTo>
                  <a:cubicBezTo>
                    <a:pt x="1179142" y="0"/>
                    <a:pt x="1519234" y="340092"/>
                    <a:pt x="1519234" y="759616"/>
                  </a:cubicBezTo>
                  <a:cubicBezTo>
                    <a:pt x="1519234" y="1179140"/>
                    <a:pt x="1179142" y="1519232"/>
                    <a:pt x="759617" y="1519232"/>
                  </a:cubicBezTo>
                  <a:cubicBezTo>
                    <a:pt x="340092" y="1519232"/>
                    <a:pt x="0" y="1179140"/>
                    <a:pt x="0" y="759616"/>
                  </a:cubicBezTo>
                  <a:cubicBezTo>
                    <a:pt x="0" y="340092"/>
                    <a:pt x="340092" y="0"/>
                    <a:pt x="759617" y="0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5761613" y="1953119"/>
            <a:ext cx="365125" cy="365125"/>
            <a:chOff x="7363929" y="4756018"/>
            <a:chExt cx="365125" cy="365125"/>
          </a:xfrm>
        </p:grpSpPr>
        <p:sp>
          <p:nvSpPr>
            <p:cNvPr id="89" name="Oval 88"/>
            <p:cNvSpPr/>
            <p:nvPr/>
          </p:nvSpPr>
          <p:spPr>
            <a:xfrm>
              <a:off x="7363929" y="4756018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7389005" y="4794912"/>
              <a:ext cx="314196" cy="287336"/>
              <a:chOff x="-1366712" y="4281777"/>
              <a:chExt cx="1133903" cy="1036969"/>
            </a:xfrm>
            <a:solidFill>
              <a:schemeClr val="tx2"/>
            </a:solidFill>
          </p:grpSpPr>
          <p:grpSp>
            <p:nvGrpSpPr>
              <p:cNvPr id="91" name="Group 90"/>
              <p:cNvGrpSpPr/>
              <p:nvPr/>
            </p:nvGrpSpPr>
            <p:grpSpPr>
              <a:xfrm>
                <a:off x="-1061917" y="4663453"/>
                <a:ext cx="524314" cy="655293"/>
                <a:chOff x="-1065049" y="4663453"/>
                <a:chExt cx="524314" cy="655293"/>
              </a:xfrm>
              <a:grpFill/>
            </p:grpSpPr>
            <p:sp>
              <p:nvSpPr>
                <p:cNvPr id="99" name="Freeform 7"/>
                <p:cNvSpPr>
                  <a:spLocks/>
                </p:cNvSpPr>
                <p:nvPr/>
              </p:nvSpPr>
              <p:spPr bwMode="auto">
                <a:xfrm>
                  <a:off x="-1065049" y="4663453"/>
                  <a:ext cx="524314" cy="655293"/>
                </a:xfrm>
                <a:custGeom>
                  <a:avLst/>
                  <a:gdLst>
                    <a:gd name="connsiteX0" fmla="*/ 1110780 w 2143550"/>
                    <a:gd name="connsiteY0" fmla="*/ 273044 h 2679029"/>
                    <a:gd name="connsiteX1" fmla="*/ 653738 w 2143550"/>
                    <a:gd name="connsiteY1" fmla="*/ 394090 h 2679029"/>
                    <a:gd name="connsiteX2" fmla="*/ 280586 w 2143550"/>
                    <a:gd name="connsiteY2" fmla="*/ 1206627 h 2679029"/>
                    <a:gd name="connsiteX3" fmla="*/ 689940 w 2143550"/>
                    <a:gd name="connsiteY3" fmla="*/ 1777073 h 2679029"/>
                    <a:gd name="connsiteX4" fmla="*/ 804113 w 2143550"/>
                    <a:gd name="connsiteY4" fmla="*/ 1969077 h 2679029"/>
                    <a:gd name="connsiteX5" fmla="*/ 804113 w 2143550"/>
                    <a:gd name="connsiteY5" fmla="*/ 2102644 h 2679029"/>
                    <a:gd name="connsiteX6" fmla="*/ 843099 w 2143550"/>
                    <a:gd name="connsiteY6" fmla="*/ 2144384 h 2679029"/>
                    <a:gd name="connsiteX7" fmla="*/ 1071446 w 2143550"/>
                    <a:gd name="connsiteY7" fmla="*/ 2141602 h 2679029"/>
                    <a:gd name="connsiteX8" fmla="*/ 1177265 w 2143550"/>
                    <a:gd name="connsiteY8" fmla="*/ 2141602 h 2679029"/>
                    <a:gd name="connsiteX9" fmla="*/ 1327640 w 2143550"/>
                    <a:gd name="connsiteY9" fmla="*/ 2133254 h 2679029"/>
                    <a:gd name="connsiteX10" fmla="*/ 1338779 w 2143550"/>
                    <a:gd name="connsiteY10" fmla="*/ 1980207 h 2679029"/>
                    <a:gd name="connsiteX11" fmla="*/ 1452952 w 2143550"/>
                    <a:gd name="connsiteY11" fmla="*/ 1774290 h 2679029"/>
                    <a:gd name="connsiteX12" fmla="*/ 1681299 w 2143550"/>
                    <a:gd name="connsiteY12" fmla="*/ 1585069 h 2679029"/>
                    <a:gd name="connsiteX13" fmla="*/ 1856737 w 2143550"/>
                    <a:gd name="connsiteY13" fmla="*/ 911665 h 2679029"/>
                    <a:gd name="connsiteX14" fmla="*/ 1553202 w 2143550"/>
                    <a:gd name="connsiteY14" fmla="*/ 435830 h 2679029"/>
                    <a:gd name="connsiteX15" fmla="*/ 1110780 w 2143550"/>
                    <a:gd name="connsiteY15" fmla="*/ 273044 h 2679029"/>
                    <a:gd name="connsiteX16" fmla="*/ 1076913 w 2143550"/>
                    <a:gd name="connsiteY16" fmla="*/ 23 h 2679029"/>
                    <a:gd name="connsiteX17" fmla="*/ 1595110 w 2143550"/>
                    <a:gd name="connsiteY17" fmla="*/ 142172 h 2679029"/>
                    <a:gd name="connsiteX18" fmla="*/ 2043206 w 2143550"/>
                    <a:gd name="connsiteY18" fmla="*/ 629487 h 2679029"/>
                    <a:gd name="connsiteX19" fmla="*/ 2143401 w 2143550"/>
                    <a:gd name="connsiteY19" fmla="*/ 1033262 h 2679029"/>
                    <a:gd name="connsiteX20" fmla="*/ 1812200 w 2143550"/>
                    <a:gd name="connsiteY20" fmla="*/ 1851952 h 2679029"/>
                    <a:gd name="connsiteX21" fmla="*/ 1645208 w 2143550"/>
                    <a:gd name="connsiteY21" fmla="*/ 1982831 h 2679029"/>
                    <a:gd name="connsiteX22" fmla="*/ 1606243 w 2143550"/>
                    <a:gd name="connsiteY22" fmla="*/ 2052447 h 2679029"/>
                    <a:gd name="connsiteX23" fmla="*/ 1583978 w 2143550"/>
                    <a:gd name="connsiteY23" fmla="*/ 2308636 h 2679029"/>
                    <a:gd name="connsiteX24" fmla="*/ 1080218 w 2143550"/>
                    <a:gd name="connsiteY24" fmla="*/ 2678995 h 2679029"/>
                    <a:gd name="connsiteX25" fmla="*/ 595941 w 2143550"/>
                    <a:gd name="connsiteY25" fmla="*/ 2403314 h 2679029"/>
                    <a:gd name="connsiteX26" fmla="*/ 537494 w 2143550"/>
                    <a:gd name="connsiteY26" fmla="*/ 2141556 h 2679029"/>
                    <a:gd name="connsiteX27" fmla="*/ 437299 w 2143550"/>
                    <a:gd name="connsiteY27" fmla="*/ 1932707 h 2679029"/>
                    <a:gd name="connsiteX28" fmla="*/ 14252 w 2143550"/>
                    <a:gd name="connsiteY28" fmla="*/ 1244896 h 2679029"/>
                    <a:gd name="connsiteX29" fmla="*/ 209076 w 2143550"/>
                    <a:gd name="connsiteY29" fmla="*/ 428991 h 2679029"/>
                    <a:gd name="connsiteX30" fmla="*/ 893744 w 2143550"/>
                    <a:gd name="connsiteY30" fmla="*/ 14077 h 2679029"/>
                    <a:gd name="connsiteX31" fmla="*/ 1076913 w 2143550"/>
                    <a:gd name="connsiteY31" fmla="*/ 23 h 2679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2143550" h="2679029">
                      <a:moveTo>
                        <a:pt x="1110780" y="273044"/>
                      </a:moveTo>
                      <a:cubicBezTo>
                        <a:pt x="952399" y="264696"/>
                        <a:pt x="791582" y="303654"/>
                        <a:pt x="653738" y="394090"/>
                      </a:cubicBezTo>
                      <a:cubicBezTo>
                        <a:pt x="361343" y="586094"/>
                        <a:pt x="233246" y="856012"/>
                        <a:pt x="280586" y="1206627"/>
                      </a:cubicBezTo>
                      <a:cubicBezTo>
                        <a:pt x="316788" y="1465415"/>
                        <a:pt x="469947" y="1646288"/>
                        <a:pt x="689940" y="1777073"/>
                      </a:cubicBezTo>
                      <a:cubicBezTo>
                        <a:pt x="762343" y="1821595"/>
                        <a:pt x="801329" y="1882814"/>
                        <a:pt x="804113" y="1969077"/>
                      </a:cubicBezTo>
                      <a:cubicBezTo>
                        <a:pt x="804113" y="2013599"/>
                        <a:pt x="806898" y="2058122"/>
                        <a:pt x="804113" y="2102644"/>
                      </a:cubicBezTo>
                      <a:cubicBezTo>
                        <a:pt x="801329" y="2133254"/>
                        <a:pt x="809683" y="2144384"/>
                        <a:pt x="843099" y="2144384"/>
                      </a:cubicBezTo>
                      <a:cubicBezTo>
                        <a:pt x="918287" y="2141602"/>
                        <a:pt x="996259" y="2141602"/>
                        <a:pt x="1071446" y="2141602"/>
                      </a:cubicBezTo>
                      <a:cubicBezTo>
                        <a:pt x="1107647" y="2141602"/>
                        <a:pt x="1141064" y="2141602"/>
                        <a:pt x="1177265" y="2141602"/>
                      </a:cubicBezTo>
                      <a:cubicBezTo>
                        <a:pt x="1227390" y="2141602"/>
                        <a:pt x="1297008" y="2161080"/>
                        <a:pt x="1327640" y="2133254"/>
                      </a:cubicBezTo>
                      <a:cubicBezTo>
                        <a:pt x="1363842" y="2102644"/>
                        <a:pt x="1338779" y="2033078"/>
                        <a:pt x="1338779" y="1980207"/>
                      </a:cubicBezTo>
                      <a:cubicBezTo>
                        <a:pt x="1335994" y="1888379"/>
                        <a:pt x="1374980" y="1821595"/>
                        <a:pt x="1452952" y="1774290"/>
                      </a:cubicBezTo>
                      <a:cubicBezTo>
                        <a:pt x="1536494" y="1721420"/>
                        <a:pt x="1617251" y="1662984"/>
                        <a:pt x="1681299" y="1585069"/>
                      </a:cubicBezTo>
                      <a:cubicBezTo>
                        <a:pt x="1845598" y="1387500"/>
                        <a:pt x="1909646" y="1162105"/>
                        <a:pt x="1856737" y="911665"/>
                      </a:cubicBezTo>
                      <a:cubicBezTo>
                        <a:pt x="1817751" y="719662"/>
                        <a:pt x="1714716" y="561050"/>
                        <a:pt x="1553202" y="435830"/>
                      </a:cubicBezTo>
                      <a:cubicBezTo>
                        <a:pt x="1425105" y="337046"/>
                        <a:pt x="1269161" y="281392"/>
                        <a:pt x="1110780" y="273044"/>
                      </a:cubicBezTo>
                      <a:close/>
                      <a:moveTo>
                        <a:pt x="1076913" y="23"/>
                      </a:moveTo>
                      <a:cubicBezTo>
                        <a:pt x="1257473" y="1198"/>
                        <a:pt x="1430206" y="48189"/>
                        <a:pt x="1595110" y="142172"/>
                      </a:cubicBezTo>
                      <a:cubicBezTo>
                        <a:pt x="1798284" y="256343"/>
                        <a:pt x="1945794" y="415068"/>
                        <a:pt x="2043206" y="629487"/>
                      </a:cubicBezTo>
                      <a:cubicBezTo>
                        <a:pt x="2110003" y="774289"/>
                        <a:pt x="2146184" y="921876"/>
                        <a:pt x="2143401" y="1033262"/>
                      </a:cubicBezTo>
                      <a:cubicBezTo>
                        <a:pt x="2143401" y="1386914"/>
                        <a:pt x="2029290" y="1640318"/>
                        <a:pt x="1812200" y="1851952"/>
                      </a:cubicBezTo>
                      <a:cubicBezTo>
                        <a:pt x="1762102" y="1899291"/>
                        <a:pt x="1709222" y="1952200"/>
                        <a:pt x="1645208" y="1982831"/>
                      </a:cubicBezTo>
                      <a:cubicBezTo>
                        <a:pt x="1609026" y="1999539"/>
                        <a:pt x="1606243" y="2019031"/>
                        <a:pt x="1606243" y="2052447"/>
                      </a:cubicBezTo>
                      <a:cubicBezTo>
                        <a:pt x="1603460" y="2138772"/>
                        <a:pt x="1611810" y="2225096"/>
                        <a:pt x="1583978" y="2308636"/>
                      </a:cubicBezTo>
                      <a:cubicBezTo>
                        <a:pt x="1519964" y="2514701"/>
                        <a:pt x="1308441" y="2681780"/>
                        <a:pt x="1080218" y="2678995"/>
                      </a:cubicBezTo>
                      <a:cubicBezTo>
                        <a:pt x="863129" y="2676211"/>
                        <a:pt x="707269" y="2578748"/>
                        <a:pt x="595941" y="2403314"/>
                      </a:cubicBezTo>
                      <a:cubicBezTo>
                        <a:pt x="548627" y="2325344"/>
                        <a:pt x="523578" y="2233450"/>
                        <a:pt x="537494" y="2141556"/>
                      </a:cubicBezTo>
                      <a:cubicBezTo>
                        <a:pt x="554193" y="2046878"/>
                        <a:pt x="518012" y="1988400"/>
                        <a:pt x="437299" y="1932707"/>
                      </a:cubicBezTo>
                      <a:cubicBezTo>
                        <a:pt x="195160" y="1768412"/>
                        <a:pt x="58783" y="1534501"/>
                        <a:pt x="14252" y="1244896"/>
                      </a:cubicBezTo>
                      <a:cubicBezTo>
                        <a:pt x="-30279" y="946938"/>
                        <a:pt x="28168" y="671257"/>
                        <a:pt x="209076" y="428991"/>
                      </a:cubicBezTo>
                      <a:cubicBezTo>
                        <a:pt x="378852" y="200649"/>
                        <a:pt x="609857" y="58632"/>
                        <a:pt x="893744" y="14077"/>
                      </a:cubicBezTo>
                      <a:cubicBezTo>
                        <a:pt x="955670" y="4331"/>
                        <a:pt x="1016726" y="-368"/>
                        <a:pt x="1076913" y="23"/>
                      </a:cubicBezTo>
                      <a:close/>
                    </a:path>
                  </a:pathLst>
                </a:custGeom>
                <a:solidFill>
                  <a:srgbClr val="0074A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0" name="Freeform 8"/>
                <p:cNvSpPr>
                  <a:spLocks/>
                </p:cNvSpPr>
                <p:nvPr/>
              </p:nvSpPr>
              <p:spPr bwMode="auto">
                <a:xfrm>
                  <a:off x="-953246" y="4867433"/>
                  <a:ext cx="300159" cy="136683"/>
                </a:xfrm>
                <a:custGeom>
                  <a:avLst/>
                  <a:gdLst>
                    <a:gd name="T0" fmla="*/ 221 w 441"/>
                    <a:gd name="T1" fmla="*/ 86 h 201"/>
                    <a:gd name="T2" fmla="*/ 148 w 441"/>
                    <a:gd name="T3" fmla="*/ 181 h 201"/>
                    <a:gd name="T4" fmla="*/ 103 w 441"/>
                    <a:gd name="T5" fmla="*/ 182 h 201"/>
                    <a:gd name="T6" fmla="*/ 10 w 441"/>
                    <a:gd name="T7" fmla="*/ 61 h 201"/>
                    <a:gd name="T8" fmla="*/ 16 w 441"/>
                    <a:gd name="T9" fmla="*/ 18 h 201"/>
                    <a:gd name="T10" fmla="*/ 51 w 441"/>
                    <a:gd name="T11" fmla="*/ 29 h 201"/>
                    <a:gd name="T12" fmla="*/ 124 w 441"/>
                    <a:gd name="T13" fmla="*/ 125 h 201"/>
                    <a:gd name="T14" fmla="*/ 187 w 441"/>
                    <a:gd name="T15" fmla="*/ 43 h 201"/>
                    <a:gd name="T16" fmla="*/ 254 w 441"/>
                    <a:gd name="T17" fmla="*/ 44 h 201"/>
                    <a:gd name="T18" fmla="*/ 304 w 441"/>
                    <a:gd name="T19" fmla="*/ 111 h 201"/>
                    <a:gd name="T20" fmla="*/ 330 w 441"/>
                    <a:gd name="T21" fmla="*/ 111 h 201"/>
                    <a:gd name="T22" fmla="*/ 390 w 441"/>
                    <a:gd name="T23" fmla="*/ 30 h 201"/>
                    <a:gd name="T24" fmla="*/ 428 w 441"/>
                    <a:gd name="T25" fmla="*/ 20 h 201"/>
                    <a:gd name="T26" fmla="*/ 430 w 441"/>
                    <a:gd name="T27" fmla="*/ 63 h 201"/>
                    <a:gd name="T28" fmla="*/ 381 w 441"/>
                    <a:gd name="T29" fmla="*/ 128 h 201"/>
                    <a:gd name="T30" fmla="*/ 339 w 441"/>
                    <a:gd name="T31" fmla="*/ 183 h 201"/>
                    <a:gd name="T32" fmla="*/ 296 w 441"/>
                    <a:gd name="T33" fmla="*/ 184 h 201"/>
                    <a:gd name="T34" fmla="*/ 221 w 441"/>
                    <a:gd name="T35" fmla="*/ 86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41" h="201">
                      <a:moveTo>
                        <a:pt x="221" y="86"/>
                      </a:moveTo>
                      <a:cubicBezTo>
                        <a:pt x="195" y="119"/>
                        <a:pt x="172" y="151"/>
                        <a:pt x="148" y="181"/>
                      </a:cubicBezTo>
                      <a:cubicBezTo>
                        <a:pt x="133" y="201"/>
                        <a:pt x="118" y="201"/>
                        <a:pt x="103" y="182"/>
                      </a:cubicBezTo>
                      <a:cubicBezTo>
                        <a:pt x="71" y="142"/>
                        <a:pt x="41" y="102"/>
                        <a:pt x="10" y="61"/>
                      </a:cubicBezTo>
                      <a:cubicBezTo>
                        <a:pt x="0" y="48"/>
                        <a:pt x="3" y="25"/>
                        <a:pt x="16" y="18"/>
                      </a:cubicBezTo>
                      <a:cubicBezTo>
                        <a:pt x="31" y="9"/>
                        <a:pt x="41" y="16"/>
                        <a:pt x="51" y="29"/>
                      </a:cubicBezTo>
                      <a:cubicBezTo>
                        <a:pt x="74" y="61"/>
                        <a:pt x="99" y="92"/>
                        <a:pt x="124" y="125"/>
                      </a:cubicBezTo>
                      <a:cubicBezTo>
                        <a:pt x="149" y="100"/>
                        <a:pt x="169" y="71"/>
                        <a:pt x="187" y="43"/>
                      </a:cubicBezTo>
                      <a:cubicBezTo>
                        <a:pt x="217" y="0"/>
                        <a:pt x="231" y="9"/>
                        <a:pt x="254" y="44"/>
                      </a:cubicBezTo>
                      <a:cubicBezTo>
                        <a:pt x="270" y="67"/>
                        <a:pt x="288" y="88"/>
                        <a:pt x="304" y="111"/>
                      </a:cubicBezTo>
                      <a:cubicBezTo>
                        <a:pt x="313" y="123"/>
                        <a:pt x="321" y="123"/>
                        <a:pt x="330" y="111"/>
                      </a:cubicBezTo>
                      <a:cubicBezTo>
                        <a:pt x="350" y="84"/>
                        <a:pt x="370" y="57"/>
                        <a:pt x="390" y="30"/>
                      </a:cubicBezTo>
                      <a:cubicBezTo>
                        <a:pt x="403" y="13"/>
                        <a:pt x="415" y="10"/>
                        <a:pt x="428" y="20"/>
                      </a:cubicBezTo>
                      <a:cubicBezTo>
                        <a:pt x="439" y="29"/>
                        <a:pt x="441" y="49"/>
                        <a:pt x="430" y="63"/>
                      </a:cubicBezTo>
                      <a:cubicBezTo>
                        <a:pt x="414" y="85"/>
                        <a:pt x="397" y="106"/>
                        <a:pt x="381" y="128"/>
                      </a:cubicBezTo>
                      <a:cubicBezTo>
                        <a:pt x="367" y="147"/>
                        <a:pt x="353" y="165"/>
                        <a:pt x="339" y="183"/>
                      </a:cubicBezTo>
                      <a:cubicBezTo>
                        <a:pt x="325" y="200"/>
                        <a:pt x="309" y="200"/>
                        <a:pt x="296" y="184"/>
                      </a:cubicBezTo>
                      <a:cubicBezTo>
                        <a:pt x="271" y="152"/>
                        <a:pt x="247" y="120"/>
                        <a:pt x="221" y="86"/>
                      </a:cubicBezTo>
                      <a:close/>
                    </a:path>
                  </a:pathLst>
                </a:custGeom>
                <a:solidFill>
                  <a:srgbClr val="0074A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92" name="Group 91"/>
              <p:cNvGrpSpPr/>
              <p:nvPr/>
            </p:nvGrpSpPr>
            <p:grpSpPr>
              <a:xfrm>
                <a:off x="-1366712" y="4381006"/>
                <a:ext cx="344653" cy="393469"/>
                <a:chOff x="-1366712" y="4381006"/>
                <a:chExt cx="344653" cy="393469"/>
              </a:xfrm>
              <a:grpFill/>
            </p:grpSpPr>
            <p:sp>
              <p:nvSpPr>
                <p:cNvPr id="97" name="Rectangle: Rounded Corners 96"/>
                <p:cNvSpPr/>
                <p:nvPr/>
              </p:nvSpPr>
              <p:spPr>
                <a:xfrm rot="1712736">
                  <a:off x="-1366712" y="4688492"/>
                  <a:ext cx="279686" cy="85983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074AF"/>
                </a:solidFill>
                <a:ln>
                  <a:noFill/>
                </a:ln>
              </p:spPr>
              <p:txBody>
                <a:bodyPr rtlCol="0" anchor="ctr">
                  <a:noAutofit/>
                </a:bodyPr>
                <a:lstStyle/>
                <a:p>
                  <a:pPr algn="ctr"/>
                  <a:endParaRPr lang="en-US" sz="20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" name="Rectangle: Rounded Corners 97"/>
                <p:cNvSpPr/>
                <p:nvPr/>
              </p:nvSpPr>
              <p:spPr>
                <a:xfrm rot="3297118">
                  <a:off x="-1204893" y="4477857"/>
                  <a:ext cx="279686" cy="85983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074AF"/>
                </a:solidFill>
                <a:ln>
                  <a:noFill/>
                </a:ln>
              </p:spPr>
              <p:txBody>
                <a:bodyPr rtlCol="0" anchor="ctr">
                  <a:noAutofit/>
                </a:bodyPr>
                <a:lstStyle/>
                <a:p>
                  <a:pPr algn="ctr"/>
                  <a:endParaRPr lang="en-US" sz="20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3" name="Rectangle: Rounded Corners 92"/>
              <p:cNvSpPr/>
              <p:nvPr/>
            </p:nvSpPr>
            <p:spPr>
              <a:xfrm rot="5400000">
                <a:off x="-939603" y="4378628"/>
                <a:ext cx="279686" cy="85983"/>
              </a:xfrm>
              <a:prstGeom prst="roundRect">
                <a:avLst>
                  <a:gd name="adj" fmla="val 50000"/>
                </a:avLst>
              </a:prstGeom>
              <a:solidFill>
                <a:srgbClr val="0074AF"/>
              </a:solidFill>
              <a:ln>
                <a:noFill/>
              </a:ln>
            </p:spPr>
            <p:txBody>
              <a:bodyPr rtlCol="0" anchor="ctr">
                <a:noAutofit/>
              </a:bodyPr>
              <a:lstStyle/>
              <a:p>
                <a:pPr algn="ctr"/>
                <a:endParaRPr lang="en-US" sz="20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4" name="Group 93"/>
              <p:cNvGrpSpPr/>
              <p:nvPr/>
            </p:nvGrpSpPr>
            <p:grpSpPr>
              <a:xfrm flipH="1">
                <a:off x="-577462" y="4381006"/>
                <a:ext cx="344653" cy="393469"/>
                <a:chOff x="-1366712" y="4381006"/>
                <a:chExt cx="344653" cy="393469"/>
              </a:xfrm>
              <a:grpFill/>
            </p:grpSpPr>
            <p:sp>
              <p:nvSpPr>
                <p:cNvPr id="95" name="Rectangle: Rounded Corners 94"/>
                <p:cNvSpPr/>
                <p:nvPr/>
              </p:nvSpPr>
              <p:spPr>
                <a:xfrm rot="1712736">
                  <a:off x="-1366712" y="4688492"/>
                  <a:ext cx="279686" cy="85983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074AF"/>
                </a:solidFill>
                <a:ln>
                  <a:noFill/>
                </a:ln>
              </p:spPr>
              <p:txBody>
                <a:bodyPr rtlCol="0" anchor="ctr">
                  <a:noAutofit/>
                </a:bodyPr>
                <a:lstStyle/>
                <a:p>
                  <a:pPr algn="ctr"/>
                  <a:endParaRPr lang="en-US" sz="20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6" name="Rectangle: Rounded Corners 95"/>
                <p:cNvSpPr/>
                <p:nvPr/>
              </p:nvSpPr>
              <p:spPr>
                <a:xfrm rot="3297118">
                  <a:off x="-1204893" y="4477857"/>
                  <a:ext cx="279686" cy="85983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074AF"/>
                </a:solidFill>
                <a:ln>
                  <a:noFill/>
                </a:ln>
              </p:spPr>
              <p:txBody>
                <a:bodyPr rtlCol="0" anchor="ctr">
                  <a:noAutofit/>
                </a:bodyPr>
                <a:lstStyle/>
                <a:p>
                  <a:pPr algn="ctr"/>
                  <a:endParaRPr lang="en-US" sz="20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/>
        </p:nvGrpSpPr>
        <p:grpSpPr>
          <a:xfrm>
            <a:off x="2504414" y="2360903"/>
            <a:ext cx="386038" cy="346662"/>
            <a:chOff x="-1084974" y="2934056"/>
            <a:chExt cx="958879" cy="861076"/>
          </a:xfrm>
          <a:solidFill>
            <a:schemeClr val="bg1">
              <a:lumMod val="50000"/>
            </a:schemeClr>
          </a:solidFill>
        </p:grpSpPr>
        <p:sp>
          <p:nvSpPr>
            <p:cNvPr id="101" name="Freeform 8"/>
            <p:cNvSpPr/>
            <p:nvPr/>
          </p:nvSpPr>
          <p:spPr bwMode="auto">
            <a:xfrm>
              <a:off x="-1084974" y="2934056"/>
              <a:ext cx="958879" cy="861076"/>
            </a:xfrm>
            <a:custGeom>
              <a:avLst/>
              <a:gdLst/>
              <a:ahLst/>
              <a:cxnLst/>
              <a:rect l="l" t="t" r="r" b="b"/>
              <a:pathLst>
                <a:path w="3944686" h="3542339">
                  <a:moveTo>
                    <a:pt x="2192297" y="2335887"/>
                  </a:moveTo>
                  <a:cubicBezTo>
                    <a:pt x="2222820" y="2335887"/>
                    <a:pt x="2253343" y="2347531"/>
                    <a:pt x="2276631" y="2370819"/>
                  </a:cubicBezTo>
                  <a:lnTo>
                    <a:pt x="2292434" y="2386622"/>
                  </a:lnTo>
                  <a:cubicBezTo>
                    <a:pt x="2335532" y="2429720"/>
                    <a:pt x="2338751" y="2497598"/>
                    <a:pt x="2300496" y="2543150"/>
                  </a:cubicBezTo>
                  <a:cubicBezTo>
                    <a:pt x="2320893" y="2524465"/>
                    <a:pt x="2347082" y="2515893"/>
                    <a:pt x="2373272" y="2515893"/>
                  </a:cubicBezTo>
                  <a:cubicBezTo>
                    <a:pt x="2403795" y="2515893"/>
                    <a:pt x="2434317" y="2527537"/>
                    <a:pt x="2457606" y="2550825"/>
                  </a:cubicBezTo>
                  <a:lnTo>
                    <a:pt x="2473408" y="2566628"/>
                  </a:lnTo>
                  <a:cubicBezTo>
                    <a:pt x="2513642" y="2606861"/>
                    <a:pt x="2519121" y="2668690"/>
                    <a:pt x="2487855" y="2713541"/>
                  </a:cubicBezTo>
                  <a:cubicBezTo>
                    <a:pt x="2506319" y="2698588"/>
                    <a:pt x="2529091" y="2692106"/>
                    <a:pt x="2551864" y="2692106"/>
                  </a:cubicBezTo>
                  <a:cubicBezTo>
                    <a:pt x="2582388" y="2692105"/>
                    <a:pt x="2612911" y="2703750"/>
                    <a:pt x="2636199" y="2727038"/>
                  </a:cubicBezTo>
                  <a:lnTo>
                    <a:pt x="2652002" y="2742841"/>
                  </a:lnTo>
                  <a:cubicBezTo>
                    <a:pt x="2695158" y="2785997"/>
                    <a:pt x="2698327" y="2853999"/>
                    <a:pt x="2659933" y="2899565"/>
                  </a:cubicBezTo>
                  <a:cubicBezTo>
                    <a:pt x="2705363" y="2862497"/>
                    <a:pt x="2772186" y="2866128"/>
                    <a:pt x="2814793" y="2908735"/>
                  </a:cubicBezTo>
                  <a:lnTo>
                    <a:pt x="2830596" y="2924538"/>
                  </a:lnTo>
                  <a:cubicBezTo>
                    <a:pt x="2877172" y="2971114"/>
                    <a:pt x="2877172" y="3046630"/>
                    <a:pt x="2830596" y="3093207"/>
                  </a:cubicBezTo>
                  <a:lnTo>
                    <a:pt x="2578619" y="3345183"/>
                  </a:lnTo>
                  <a:cubicBezTo>
                    <a:pt x="2532042" y="3391760"/>
                    <a:pt x="2456526" y="3391760"/>
                    <a:pt x="2409950" y="3345183"/>
                  </a:cubicBezTo>
                  <a:lnTo>
                    <a:pt x="2394147" y="3329381"/>
                  </a:lnTo>
                  <a:cubicBezTo>
                    <a:pt x="2350991" y="3286224"/>
                    <a:pt x="2347822" y="3218222"/>
                    <a:pt x="2386216" y="3172656"/>
                  </a:cubicBezTo>
                  <a:cubicBezTo>
                    <a:pt x="2340786" y="3209724"/>
                    <a:pt x="2273962" y="3206093"/>
                    <a:pt x="2231356" y="3163487"/>
                  </a:cubicBezTo>
                  <a:lnTo>
                    <a:pt x="2215553" y="3147684"/>
                  </a:lnTo>
                  <a:cubicBezTo>
                    <a:pt x="2175319" y="3107450"/>
                    <a:pt x="2169841" y="3045621"/>
                    <a:pt x="2201107" y="3000770"/>
                  </a:cubicBezTo>
                  <a:cubicBezTo>
                    <a:pt x="2156148" y="3033099"/>
                    <a:pt x="2093426" y="3027937"/>
                    <a:pt x="2052763" y="2987273"/>
                  </a:cubicBezTo>
                  <a:lnTo>
                    <a:pt x="2036960" y="2971471"/>
                  </a:lnTo>
                  <a:cubicBezTo>
                    <a:pt x="1993861" y="2928372"/>
                    <a:pt x="1990644" y="2860494"/>
                    <a:pt x="2028898" y="2814942"/>
                  </a:cubicBezTo>
                  <a:cubicBezTo>
                    <a:pt x="1983303" y="2853609"/>
                    <a:pt x="1915058" y="2850537"/>
                    <a:pt x="1871788" y="2807267"/>
                  </a:cubicBezTo>
                  <a:lnTo>
                    <a:pt x="1855985" y="2791465"/>
                  </a:lnTo>
                  <a:cubicBezTo>
                    <a:pt x="1809409" y="2744889"/>
                    <a:pt x="1809409" y="2669372"/>
                    <a:pt x="1855985" y="2622796"/>
                  </a:cubicBezTo>
                  <a:lnTo>
                    <a:pt x="2107962" y="2370819"/>
                  </a:lnTo>
                  <a:cubicBezTo>
                    <a:pt x="2131251" y="2347531"/>
                    <a:pt x="2161773" y="2335887"/>
                    <a:pt x="2192297" y="2335887"/>
                  </a:cubicBezTo>
                  <a:close/>
                  <a:moveTo>
                    <a:pt x="2691097" y="2200055"/>
                  </a:moveTo>
                  <a:lnTo>
                    <a:pt x="3472263" y="2977700"/>
                  </a:lnTo>
                  <a:cubicBezTo>
                    <a:pt x="3570347" y="3075342"/>
                    <a:pt x="3570705" y="3234008"/>
                    <a:pt x="3473064" y="3332091"/>
                  </a:cubicBezTo>
                  <a:lnTo>
                    <a:pt x="3337229" y="3468542"/>
                  </a:lnTo>
                  <a:cubicBezTo>
                    <a:pt x="3239588" y="3566624"/>
                    <a:pt x="3080921" y="3566984"/>
                    <a:pt x="2982839" y="3469342"/>
                  </a:cubicBezTo>
                  <a:lnTo>
                    <a:pt x="2817512" y="3304759"/>
                  </a:lnTo>
                  <a:lnTo>
                    <a:pt x="2962277" y="3146075"/>
                  </a:lnTo>
                  <a:cubicBezTo>
                    <a:pt x="3000906" y="3080723"/>
                    <a:pt x="3068110" y="2862970"/>
                    <a:pt x="2806702" y="2742850"/>
                  </a:cubicBezTo>
                  <a:cubicBezTo>
                    <a:pt x="2788975" y="2687023"/>
                    <a:pt x="2711717" y="2588332"/>
                    <a:pt x="2632077" y="2568225"/>
                  </a:cubicBezTo>
                  <a:cubicBezTo>
                    <a:pt x="2614878" y="2517689"/>
                    <a:pt x="2571486" y="2455248"/>
                    <a:pt x="2501902" y="2409475"/>
                  </a:cubicBezTo>
                  <a:cubicBezTo>
                    <a:pt x="2576176" y="2376963"/>
                    <a:pt x="2631305" y="2325306"/>
                    <a:pt x="2691097" y="2200055"/>
                  </a:cubicBezTo>
                  <a:close/>
                  <a:moveTo>
                    <a:pt x="3102770" y="1568894"/>
                  </a:moveTo>
                  <a:cubicBezTo>
                    <a:pt x="3144045" y="1569688"/>
                    <a:pt x="3175795" y="1589531"/>
                    <a:pt x="3212307" y="1628425"/>
                  </a:cubicBezTo>
                  <a:lnTo>
                    <a:pt x="3671888" y="2085625"/>
                  </a:lnTo>
                  <a:cubicBezTo>
                    <a:pt x="3725069" y="2130076"/>
                    <a:pt x="3706813" y="2205481"/>
                    <a:pt x="3681413" y="2240406"/>
                  </a:cubicBezTo>
                  <a:lnTo>
                    <a:pt x="3305176" y="2619025"/>
                  </a:lnTo>
                  <a:lnTo>
                    <a:pt x="2636045" y="1949894"/>
                  </a:lnTo>
                  <a:lnTo>
                    <a:pt x="2580156" y="2089614"/>
                  </a:lnTo>
                  <a:lnTo>
                    <a:pt x="2580331" y="2089788"/>
                  </a:lnTo>
                  <a:lnTo>
                    <a:pt x="2573515" y="2107172"/>
                  </a:lnTo>
                  <a:cubicBezTo>
                    <a:pt x="2564396" y="2153317"/>
                    <a:pt x="2550969" y="2186218"/>
                    <a:pt x="2533301" y="2209748"/>
                  </a:cubicBezTo>
                  <a:lnTo>
                    <a:pt x="2529684" y="2218975"/>
                  </a:lnTo>
                  <a:lnTo>
                    <a:pt x="2524242" y="2224111"/>
                  </a:lnTo>
                  <a:cubicBezTo>
                    <a:pt x="2500438" y="2257107"/>
                    <a:pt x="2471081" y="2273400"/>
                    <a:pt x="2443163" y="2290413"/>
                  </a:cubicBezTo>
                  <a:cubicBezTo>
                    <a:pt x="2282032" y="2346769"/>
                    <a:pt x="2244726" y="2234057"/>
                    <a:pt x="2245520" y="2159444"/>
                  </a:cubicBezTo>
                  <a:lnTo>
                    <a:pt x="2350183" y="1889991"/>
                  </a:lnTo>
                  <a:lnTo>
                    <a:pt x="2357973" y="1868434"/>
                  </a:lnTo>
                  <a:lnTo>
                    <a:pt x="2358432" y="1868891"/>
                  </a:lnTo>
                  <a:lnTo>
                    <a:pt x="2433638" y="1685575"/>
                  </a:lnTo>
                  <a:cubicBezTo>
                    <a:pt x="2459038" y="1641919"/>
                    <a:pt x="2493963" y="1610168"/>
                    <a:pt x="2552701" y="1583181"/>
                  </a:cubicBezTo>
                  <a:close/>
                  <a:moveTo>
                    <a:pt x="3366858" y="1340370"/>
                  </a:moveTo>
                  <a:cubicBezTo>
                    <a:pt x="3396373" y="1340115"/>
                    <a:pt x="3425985" y="1351120"/>
                    <a:pt x="3448699" y="1373445"/>
                  </a:cubicBezTo>
                  <a:lnTo>
                    <a:pt x="3910198" y="1827046"/>
                  </a:lnTo>
                  <a:cubicBezTo>
                    <a:pt x="3955627" y="1871696"/>
                    <a:pt x="3956257" y="1944719"/>
                    <a:pt x="3911606" y="1990146"/>
                  </a:cubicBezTo>
                  <a:lnTo>
                    <a:pt x="3870718" y="2031747"/>
                  </a:lnTo>
                  <a:cubicBezTo>
                    <a:pt x="3826068" y="2077175"/>
                    <a:pt x="3753045" y="2077805"/>
                    <a:pt x="3707618" y="2033155"/>
                  </a:cubicBezTo>
                  <a:lnTo>
                    <a:pt x="3246119" y="1579553"/>
                  </a:lnTo>
                  <a:cubicBezTo>
                    <a:pt x="3200691" y="1534903"/>
                    <a:pt x="3200060" y="1461881"/>
                    <a:pt x="3244711" y="1416454"/>
                  </a:cubicBezTo>
                  <a:lnTo>
                    <a:pt x="3285600" y="1374853"/>
                  </a:lnTo>
                  <a:cubicBezTo>
                    <a:pt x="3307925" y="1352139"/>
                    <a:pt x="3337343" y="1340624"/>
                    <a:pt x="3366858" y="1340370"/>
                  </a:cubicBezTo>
                  <a:close/>
                  <a:moveTo>
                    <a:pt x="704734" y="662655"/>
                  </a:moveTo>
                  <a:cubicBezTo>
                    <a:pt x="787264" y="660409"/>
                    <a:pt x="791171" y="737242"/>
                    <a:pt x="778669" y="783080"/>
                  </a:cubicBezTo>
                  <a:cubicBezTo>
                    <a:pt x="731838" y="864838"/>
                    <a:pt x="584995" y="1003743"/>
                    <a:pt x="702469" y="1328387"/>
                  </a:cubicBezTo>
                  <a:cubicBezTo>
                    <a:pt x="709612" y="1383157"/>
                    <a:pt x="666750" y="1442687"/>
                    <a:pt x="573881" y="1406969"/>
                  </a:cubicBezTo>
                  <a:cubicBezTo>
                    <a:pt x="389733" y="1094230"/>
                    <a:pt x="574676" y="767205"/>
                    <a:pt x="664370" y="668780"/>
                  </a:cubicBezTo>
                  <a:cubicBezTo>
                    <a:pt x="679550" y="664912"/>
                    <a:pt x="692945" y="662976"/>
                    <a:pt x="704734" y="662655"/>
                  </a:cubicBezTo>
                  <a:close/>
                  <a:moveTo>
                    <a:pt x="1117600" y="323849"/>
                  </a:moveTo>
                  <a:cubicBezTo>
                    <a:pt x="679225" y="323849"/>
                    <a:pt x="323850" y="679224"/>
                    <a:pt x="323850" y="1117599"/>
                  </a:cubicBezTo>
                  <a:cubicBezTo>
                    <a:pt x="323850" y="1555975"/>
                    <a:pt x="679225" y="1911350"/>
                    <a:pt x="1117601" y="1911350"/>
                  </a:cubicBezTo>
                  <a:cubicBezTo>
                    <a:pt x="1555976" y="1911350"/>
                    <a:pt x="1911350" y="1555975"/>
                    <a:pt x="1911351" y="1117599"/>
                  </a:cubicBezTo>
                  <a:cubicBezTo>
                    <a:pt x="1911350" y="679224"/>
                    <a:pt x="1555976" y="323849"/>
                    <a:pt x="1117600" y="323849"/>
                  </a:cubicBezTo>
                  <a:close/>
                  <a:moveTo>
                    <a:pt x="1117600" y="0"/>
                  </a:moveTo>
                  <a:cubicBezTo>
                    <a:pt x="1734834" y="0"/>
                    <a:pt x="2235200" y="500366"/>
                    <a:pt x="2235200" y="1117599"/>
                  </a:cubicBezTo>
                  <a:cubicBezTo>
                    <a:pt x="2235200" y="1301729"/>
                    <a:pt x="2190672" y="1475458"/>
                    <a:pt x="2110973" y="1628182"/>
                  </a:cubicBezTo>
                  <a:cubicBezTo>
                    <a:pt x="2122110" y="1635147"/>
                    <a:pt x="2132273" y="1643753"/>
                    <a:pt x="2141859" y="1653293"/>
                  </a:cubicBezTo>
                  <a:lnTo>
                    <a:pt x="2260556" y="1771456"/>
                  </a:lnTo>
                  <a:cubicBezTo>
                    <a:pt x="2194277" y="1936882"/>
                    <a:pt x="2092662" y="2130894"/>
                    <a:pt x="2120901" y="2218974"/>
                  </a:cubicBezTo>
                  <a:cubicBezTo>
                    <a:pt x="2022995" y="2244740"/>
                    <a:pt x="1962724" y="2320683"/>
                    <a:pt x="1893639" y="2385053"/>
                  </a:cubicBezTo>
                  <a:lnTo>
                    <a:pt x="1652433" y="2144936"/>
                  </a:lnTo>
                  <a:lnTo>
                    <a:pt x="1625589" y="2112222"/>
                  </a:lnTo>
                  <a:cubicBezTo>
                    <a:pt x="1473521" y="2191167"/>
                    <a:pt x="1300703" y="2235200"/>
                    <a:pt x="1117600" y="2235200"/>
                  </a:cubicBezTo>
                  <a:cubicBezTo>
                    <a:pt x="500367" y="2235200"/>
                    <a:pt x="0" y="1734833"/>
                    <a:pt x="0" y="1117599"/>
                  </a:cubicBezTo>
                  <a:cubicBezTo>
                    <a:pt x="0" y="500366"/>
                    <a:pt x="500368" y="-1"/>
                    <a:pt x="1117600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966788" y="3090863"/>
              <a:ext cx="71438" cy="282013"/>
            </a:xfrm>
            <a:custGeom>
              <a:avLst/>
              <a:gdLst>
                <a:gd name="connsiteX0" fmla="*/ 0 w 71438"/>
                <a:gd name="connsiteY0" fmla="*/ 0 h 304988"/>
                <a:gd name="connsiteX1" fmla="*/ 71438 w 71438"/>
                <a:gd name="connsiteY1" fmla="*/ 0 h 304988"/>
                <a:gd name="connsiteX2" fmla="*/ 71438 w 71438"/>
                <a:gd name="connsiteY2" fmla="*/ 304988 h 304988"/>
                <a:gd name="connsiteX3" fmla="*/ 0 w 71438"/>
                <a:gd name="connsiteY3" fmla="*/ 304988 h 304988"/>
                <a:gd name="connsiteX4" fmla="*/ 0 w 71438"/>
                <a:gd name="connsiteY4" fmla="*/ 0 h 304988"/>
                <a:gd name="connsiteX0" fmla="*/ 0 w 71438"/>
                <a:gd name="connsiteY0" fmla="*/ 0 h 304988"/>
                <a:gd name="connsiteX1" fmla="*/ 71438 w 71438"/>
                <a:gd name="connsiteY1" fmla="*/ 0 h 304988"/>
                <a:gd name="connsiteX2" fmla="*/ 71438 w 71438"/>
                <a:gd name="connsiteY2" fmla="*/ 304988 h 304988"/>
                <a:gd name="connsiteX3" fmla="*/ 0 w 71438"/>
                <a:gd name="connsiteY3" fmla="*/ 224025 h 304988"/>
                <a:gd name="connsiteX4" fmla="*/ 0 w 71438"/>
                <a:gd name="connsiteY4" fmla="*/ 0 h 304988"/>
                <a:gd name="connsiteX0" fmla="*/ 0 w 71438"/>
                <a:gd name="connsiteY0" fmla="*/ 0 h 304988"/>
                <a:gd name="connsiteX1" fmla="*/ 71438 w 71438"/>
                <a:gd name="connsiteY1" fmla="*/ 0 h 304988"/>
                <a:gd name="connsiteX2" fmla="*/ 71438 w 71438"/>
                <a:gd name="connsiteY2" fmla="*/ 304988 h 304988"/>
                <a:gd name="connsiteX3" fmla="*/ 0 w 71438"/>
                <a:gd name="connsiteY3" fmla="*/ 224025 h 304988"/>
                <a:gd name="connsiteX4" fmla="*/ 0 w 71438"/>
                <a:gd name="connsiteY4" fmla="*/ 0 h 304988"/>
                <a:gd name="connsiteX0" fmla="*/ 0 w 71438"/>
                <a:gd name="connsiteY0" fmla="*/ 0 h 278794"/>
                <a:gd name="connsiteX1" fmla="*/ 71438 w 71438"/>
                <a:gd name="connsiteY1" fmla="*/ 0 h 278794"/>
                <a:gd name="connsiteX2" fmla="*/ 66675 w 71438"/>
                <a:gd name="connsiteY2" fmla="*/ 278794 h 278794"/>
                <a:gd name="connsiteX3" fmla="*/ 0 w 71438"/>
                <a:gd name="connsiteY3" fmla="*/ 224025 h 278794"/>
                <a:gd name="connsiteX4" fmla="*/ 0 w 71438"/>
                <a:gd name="connsiteY4" fmla="*/ 0 h 278794"/>
                <a:gd name="connsiteX0" fmla="*/ 0 w 71438"/>
                <a:gd name="connsiteY0" fmla="*/ 0 h 278794"/>
                <a:gd name="connsiteX1" fmla="*/ 71438 w 71438"/>
                <a:gd name="connsiteY1" fmla="*/ 0 h 278794"/>
                <a:gd name="connsiteX2" fmla="*/ 66675 w 71438"/>
                <a:gd name="connsiteY2" fmla="*/ 278794 h 278794"/>
                <a:gd name="connsiteX3" fmla="*/ 0 w 71438"/>
                <a:gd name="connsiteY3" fmla="*/ 224025 h 278794"/>
                <a:gd name="connsiteX4" fmla="*/ 0 w 71438"/>
                <a:gd name="connsiteY4" fmla="*/ 0 h 278794"/>
                <a:gd name="connsiteX0" fmla="*/ 0 w 71438"/>
                <a:gd name="connsiteY0" fmla="*/ 0 h 278794"/>
                <a:gd name="connsiteX1" fmla="*/ 71438 w 71438"/>
                <a:gd name="connsiteY1" fmla="*/ 0 h 278794"/>
                <a:gd name="connsiteX2" fmla="*/ 66675 w 71438"/>
                <a:gd name="connsiteY2" fmla="*/ 278794 h 278794"/>
                <a:gd name="connsiteX3" fmla="*/ 0 w 71438"/>
                <a:gd name="connsiteY3" fmla="*/ 224025 h 278794"/>
                <a:gd name="connsiteX4" fmla="*/ 0 w 71438"/>
                <a:gd name="connsiteY4" fmla="*/ 0 h 278794"/>
                <a:gd name="connsiteX0" fmla="*/ 0 w 71438"/>
                <a:gd name="connsiteY0" fmla="*/ 0 h 278794"/>
                <a:gd name="connsiteX1" fmla="*/ 71438 w 71438"/>
                <a:gd name="connsiteY1" fmla="*/ 0 h 278794"/>
                <a:gd name="connsiteX2" fmla="*/ 66675 w 71438"/>
                <a:gd name="connsiteY2" fmla="*/ 278794 h 278794"/>
                <a:gd name="connsiteX3" fmla="*/ 0 w 71438"/>
                <a:gd name="connsiteY3" fmla="*/ 224025 h 278794"/>
                <a:gd name="connsiteX4" fmla="*/ 0 w 71438"/>
                <a:gd name="connsiteY4" fmla="*/ 0 h 278794"/>
                <a:gd name="connsiteX0" fmla="*/ 0 w 71438"/>
                <a:gd name="connsiteY0" fmla="*/ 0 h 278794"/>
                <a:gd name="connsiteX1" fmla="*/ 71438 w 71438"/>
                <a:gd name="connsiteY1" fmla="*/ 0 h 278794"/>
                <a:gd name="connsiteX2" fmla="*/ 66675 w 71438"/>
                <a:gd name="connsiteY2" fmla="*/ 278794 h 278794"/>
                <a:gd name="connsiteX3" fmla="*/ 0 w 71438"/>
                <a:gd name="connsiteY3" fmla="*/ 224025 h 278794"/>
                <a:gd name="connsiteX4" fmla="*/ 0 w 71438"/>
                <a:gd name="connsiteY4" fmla="*/ 0 h 278794"/>
                <a:gd name="connsiteX0" fmla="*/ 0 w 71438"/>
                <a:gd name="connsiteY0" fmla="*/ 0 h 282013"/>
                <a:gd name="connsiteX1" fmla="*/ 71438 w 71438"/>
                <a:gd name="connsiteY1" fmla="*/ 0 h 282013"/>
                <a:gd name="connsiteX2" fmla="*/ 69894 w 71438"/>
                <a:gd name="connsiteY2" fmla="*/ 282013 h 282013"/>
                <a:gd name="connsiteX3" fmla="*/ 0 w 71438"/>
                <a:gd name="connsiteY3" fmla="*/ 224025 h 282013"/>
                <a:gd name="connsiteX4" fmla="*/ 0 w 71438"/>
                <a:gd name="connsiteY4" fmla="*/ 0 h 28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8" h="282013">
                  <a:moveTo>
                    <a:pt x="0" y="0"/>
                  </a:moveTo>
                  <a:lnTo>
                    <a:pt x="71438" y="0"/>
                  </a:lnTo>
                  <a:cubicBezTo>
                    <a:pt x="69850" y="92931"/>
                    <a:pt x="71482" y="189082"/>
                    <a:pt x="69894" y="282013"/>
                  </a:cubicBezTo>
                  <a:cubicBezTo>
                    <a:pt x="31558" y="261331"/>
                    <a:pt x="13788" y="241356"/>
                    <a:pt x="0" y="224025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-876653" y="3167062"/>
              <a:ext cx="73584" cy="225846"/>
            </a:xfrm>
            <a:custGeom>
              <a:avLst/>
              <a:gdLst>
                <a:gd name="connsiteX0" fmla="*/ 0 w 158537"/>
                <a:gd name="connsiteY0" fmla="*/ 0 h 565441"/>
                <a:gd name="connsiteX1" fmla="*/ 158537 w 158537"/>
                <a:gd name="connsiteY1" fmla="*/ 0 h 565441"/>
                <a:gd name="connsiteX2" fmla="*/ 158537 w 158537"/>
                <a:gd name="connsiteY2" fmla="*/ 565441 h 565441"/>
                <a:gd name="connsiteX3" fmla="*/ 0 w 158537"/>
                <a:gd name="connsiteY3" fmla="*/ 565441 h 565441"/>
                <a:gd name="connsiteX4" fmla="*/ 0 w 158537"/>
                <a:gd name="connsiteY4" fmla="*/ 0 h 565441"/>
                <a:gd name="connsiteX0" fmla="*/ 0 w 158537"/>
                <a:gd name="connsiteY0" fmla="*/ 0 h 565441"/>
                <a:gd name="connsiteX1" fmla="*/ 158537 w 158537"/>
                <a:gd name="connsiteY1" fmla="*/ 0 h 565441"/>
                <a:gd name="connsiteX2" fmla="*/ 158537 w 158537"/>
                <a:gd name="connsiteY2" fmla="*/ 565441 h 565441"/>
                <a:gd name="connsiteX3" fmla="*/ 2381 w 158537"/>
                <a:gd name="connsiteY3" fmla="*/ 465428 h 565441"/>
                <a:gd name="connsiteX4" fmla="*/ 0 w 158537"/>
                <a:gd name="connsiteY4" fmla="*/ 0 h 565441"/>
                <a:gd name="connsiteX0" fmla="*/ 0 w 158537"/>
                <a:gd name="connsiteY0" fmla="*/ 0 h 494003"/>
                <a:gd name="connsiteX1" fmla="*/ 158537 w 158537"/>
                <a:gd name="connsiteY1" fmla="*/ 0 h 494003"/>
                <a:gd name="connsiteX2" fmla="*/ 158537 w 158537"/>
                <a:gd name="connsiteY2" fmla="*/ 494003 h 494003"/>
                <a:gd name="connsiteX3" fmla="*/ 2381 w 158537"/>
                <a:gd name="connsiteY3" fmla="*/ 465428 h 494003"/>
                <a:gd name="connsiteX4" fmla="*/ 0 w 158537"/>
                <a:gd name="connsiteY4" fmla="*/ 0 h 494003"/>
                <a:gd name="connsiteX0" fmla="*/ 0 w 158537"/>
                <a:gd name="connsiteY0" fmla="*/ 0 h 495221"/>
                <a:gd name="connsiteX1" fmla="*/ 158537 w 158537"/>
                <a:gd name="connsiteY1" fmla="*/ 0 h 495221"/>
                <a:gd name="connsiteX2" fmla="*/ 158537 w 158537"/>
                <a:gd name="connsiteY2" fmla="*/ 494003 h 495221"/>
                <a:gd name="connsiteX3" fmla="*/ 2381 w 158537"/>
                <a:gd name="connsiteY3" fmla="*/ 465428 h 495221"/>
                <a:gd name="connsiteX4" fmla="*/ 0 w 158537"/>
                <a:gd name="connsiteY4" fmla="*/ 0 h 495221"/>
                <a:gd name="connsiteX0" fmla="*/ 0 w 158537"/>
                <a:gd name="connsiteY0" fmla="*/ 0 h 496299"/>
                <a:gd name="connsiteX1" fmla="*/ 158537 w 158537"/>
                <a:gd name="connsiteY1" fmla="*/ 0 h 496299"/>
                <a:gd name="connsiteX2" fmla="*/ 158537 w 158537"/>
                <a:gd name="connsiteY2" fmla="*/ 494003 h 496299"/>
                <a:gd name="connsiteX3" fmla="*/ 2381 w 158537"/>
                <a:gd name="connsiteY3" fmla="*/ 465428 h 496299"/>
                <a:gd name="connsiteX4" fmla="*/ 0 w 158537"/>
                <a:gd name="connsiteY4" fmla="*/ 0 h 496299"/>
                <a:gd name="connsiteX0" fmla="*/ 0 w 158537"/>
                <a:gd name="connsiteY0" fmla="*/ 0 h 498777"/>
                <a:gd name="connsiteX1" fmla="*/ 158537 w 158537"/>
                <a:gd name="connsiteY1" fmla="*/ 0 h 498777"/>
                <a:gd name="connsiteX2" fmla="*/ 158537 w 158537"/>
                <a:gd name="connsiteY2" fmla="*/ 494003 h 498777"/>
                <a:gd name="connsiteX3" fmla="*/ 4763 w 158537"/>
                <a:gd name="connsiteY3" fmla="*/ 477334 h 498777"/>
                <a:gd name="connsiteX4" fmla="*/ 0 w 158537"/>
                <a:gd name="connsiteY4" fmla="*/ 0 h 498777"/>
                <a:gd name="connsiteX0" fmla="*/ 0 w 163299"/>
                <a:gd name="connsiteY0" fmla="*/ 0 h 504141"/>
                <a:gd name="connsiteX1" fmla="*/ 158537 w 163299"/>
                <a:gd name="connsiteY1" fmla="*/ 0 h 504141"/>
                <a:gd name="connsiteX2" fmla="*/ 163299 w 163299"/>
                <a:gd name="connsiteY2" fmla="*/ 501147 h 504141"/>
                <a:gd name="connsiteX3" fmla="*/ 4763 w 163299"/>
                <a:gd name="connsiteY3" fmla="*/ 477334 h 504141"/>
                <a:gd name="connsiteX4" fmla="*/ 0 w 163299"/>
                <a:gd name="connsiteY4" fmla="*/ 0 h 504141"/>
                <a:gd name="connsiteX0" fmla="*/ 0 w 163299"/>
                <a:gd name="connsiteY0" fmla="*/ 0 h 501203"/>
                <a:gd name="connsiteX1" fmla="*/ 158537 w 163299"/>
                <a:gd name="connsiteY1" fmla="*/ 0 h 501203"/>
                <a:gd name="connsiteX2" fmla="*/ 163299 w 163299"/>
                <a:gd name="connsiteY2" fmla="*/ 501147 h 501203"/>
                <a:gd name="connsiteX3" fmla="*/ 4763 w 163299"/>
                <a:gd name="connsiteY3" fmla="*/ 477334 h 501203"/>
                <a:gd name="connsiteX4" fmla="*/ 0 w 163299"/>
                <a:gd name="connsiteY4" fmla="*/ 0 h 50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299" h="501203">
                  <a:moveTo>
                    <a:pt x="0" y="0"/>
                  </a:moveTo>
                  <a:lnTo>
                    <a:pt x="158537" y="0"/>
                  </a:lnTo>
                  <a:cubicBezTo>
                    <a:pt x="160124" y="167049"/>
                    <a:pt x="161712" y="334098"/>
                    <a:pt x="163299" y="501147"/>
                  </a:cubicBezTo>
                  <a:cubicBezTo>
                    <a:pt x="96960" y="501147"/>
                    <a:pt x="61577" y="503527"/>
                    <a:pt x="4763" y="477334"/>
                  </a:cubicBezTo>
                  <a:cubicBezTo>
                    <a:pt x="3969" y="322191"/>
                    <a:pt x="794" y="15514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-786518" y="3212305"/>
              <a:ext cx="72511" cy="177360"/>
            </a:xfrm>
            <a:custGeom>
              <a:avLst/>
              <a:gdLst>
                <a:gd name="connsiteX0" fmla="*/ 0 w 158537"/>
                <a:gd name="connsiteY0" fmla="*/ 0 h 465037"/>
                <a:gd name="connsiteX1" fmla="*/ 158537 w 158537"/>
                <a:gd name="connsiteY1" fmla="*/ 0 h 465037"/>
                <a:gd name="connsiteX2" fmla="*/ 158537 w 158537"/>
                <a:gd name="connsiteY2" fmla="*/ 465037 h 465037"/>
                <a:gd name="connsiteX3" fmla="*/ 0 w 158537"/>
                <a:gd name="connsiteY3" fmla="*/ 465037 h 465037"/>
                <a:gd name="connsiteX4" fmla="*/ 0 w 158537"/>
                <a:gd name="connsiteY4" fmla="*/ 0 h 465037"/>
                <a:gd name="connsiteX0" fmla="*/ 0 w 158537"/>
                <a:gd name="connsiteY0" fmla="*/ 0 h 465037"/>
                <a:gd name="connsiteX1" fmla="*/ 158537 w 158537"/>
                <a:gd name="connsiteY1" fmla="*/ 0 h 465037"/>
                <a:gd name="connsiteX2" fmla="*/ 158537 w 158537"/>
                <a:gd name="connsiteY2" fmla="*/ 465037 h 465037"/>
                <a:gd name="connsiteX3" fmla="*/ 2381 w 158537"/>
                <a:gd name="connsiteY3" fmla="*/ 386456 h 465037"/>
                <a:gd name="connsiteX4" fmla="*/ 0 w 158537"/>
                <a:gd name="connsiteY4" fmla="*/ 0 h 465037"/>
                <a:gd name="connsiteX0" fmla="*/ 0 w 163299"/>
                <a:gd name="connsiteY0" fmla="*/ 0 h 386456"/>
                <a:gd name="connsiteX1" fmla="*/ 158537 w 163299"/>
                <a:gd name="connsiteY1" fmla="*/ 0 h 386456"/>
                <a:gd name="connsiteX2" fmla="*/ 163299 w 163299"/>
                <a:gd name="connsiteY2" fmla="*/ 336449 h 386456"/>
                <a:gd name="connsiteX3" fmla="*/ 2381 w 163299"/>
                <a:gd name="connsiteY3" fmla="*/ 386456 h 386456"/>
                <a:gd name="connsiteX4" fmla="*/ 0 w 163299"/>
                <a:gd name="connsiteY4" fmla="*/ 0 h 386456"/>
                <a:gd name="connsiteX0" fmla="*/ 0 w 160918"/>
                <a:gd name="connsiteY0" fmla="*/ 0 h 386456"/>
                <a:gd name="connsiteX1" fmla="*/ 158537 w 160918"/>
                <a:gd name="connsiteY1" fmla="*/ 0 h 386456"/>
                <a:gd name="connsiteX2" fmla="*/ 160918 w 160918"/>
                <a:gd name="connsiteY2" fmla="*/ 334068 h 386456"/>
                <a:gd name="connsiteX3" fmla="*/ 2381 w 160918"/>
                <a:gd name="connsiteY3" fmla="*/ 386456 h 386456"/>
                <a:gd name="connsiteX4" fmla="*/ 0 w 160918"/>
                <a:gd name="connsiteY4" fmla="*/ 0 h 386456"/>
                <a:gd name="connsiteX0" fmla="*/ 0 w 160918"/>
                <a:gd name="connsiteY0" fmla="*/ 0 h 386456"/>
                <a:gd name="connsiteX1" fmla="*/ 158537 w 160918"/>
                <a:gd name="connsiteY1" fmla="*/ 0 h 386456"/>
                <a:gd name="connsiteX2" fmla="*/ 160918 w 160918"/>
                <a:gd name="connsiteY2" fmla="*/ 334068 h 386456"/>
                <a:gd name="connsiteX3" fmla="*/ 2381 w 160918"/>
                <a:gd name="connsiteY3" fmla="*/ 386456 h 386456"/>
                <a:gd name="connsiteX4" fmla="*/ 0 w 160918"/>
                <a:gd name="connsiteY4" fmla="*/ 0 h 386456"/>
                <a:gd name="connsiteX0" fmla="*/ 0 w 160918"/>
                <a:gd name="connsiteY0" fmla="*/ 0 h 386535"/>
                <a:gd name="connsiteX1" fmla="*/ 158537 w 160918"/>
                <a:gd name="connsiteY1" fmla="*/ 0 h 386535"/>
                <a:gd name="connsiteX2" fmla="*/ 160918 w 160918"/>
                <a:gd name="connsiteY2" fmla="*/ 334068 h 386535"/>
                <a:gd name="connsiteX3" fmla="*/ 2381 w 160918"/>
                <a:gd name="connsiteY3" fmla="*/ 386456 h 386535"/>
                <a:gd name="connsiteX4" fmla="*/ 0 w 160918"/>
                <a:gd name="connsiteY4" fmla="*/ 0 h 386535"/>
                <a:gd name="connsiteX0" fmla="*/ 0 w 160918"/>
                <a:gd name="connsiteY0" fmla="*/ 0 h 400792"/>
                <a:gd name="connsiteX1" fmla="*/ 158537 w 160918"/>
                <a:gd name="connsiteY1" fmla="*/ 0 h 400792"/>
                <a:gd name="connsiteX2" fmla="*/ 160918 w 160918"/>
                <a:gd name="connsiteY2" fmla="*/ 334068 h 400792"/>
                <a:gd name="connsiteX3" fmla="*/ 2381 w 160918"/>
                <a:gd name="connsiteY3" fmla="*/ 400743 h 400792"/>
                <a:gd name="connsiteX4" fmla="*/ 0 w 160918"/>
                <a:gd name="connsiteY4" fmla="*/ 0 h 400792"/>
                <a:gd name="connsiteX0" fmla="*/ 0 w 160918"/>
                <a:gd name="connsiteY0" fmla="*/ 0 h 393660"/>
                <a:gd name="connsiteX1" fmla="*/ 158537 w 160918"/>
                <a:gd name="connsiteY1" fmla="*/ 0 h 393660"/>
                <a:gd name="connsiteX2" fmla="*/ 160918 w 160918"/>
                <a:gd name="connsiteY2" fmla="*/ 334068 h 393660"/>
                <a:gd name="connsiteX3" fmla="*/ 2381 w 160918"/>
                <a:gd name="connsiteY3" fmla="*/ 393599 h 393660"/>
                <a:gd name="connsiteX4" fmla="*/ 0 w 160918"/>
                <a:gd name="connsiteY4" fmla="*/ 0 h 393660"/>
                <a:gd name="connsiteX0" fmla="*/ 0 w 160918"/>
                <a:gd name="connsiteY0" fmla="*/ 0 h 393599"/>
                <a:gd name="connsiteX1" fmla="*/ 158537 w 160918"/>
                <a:gd name="connsiteY1" fmla="*/ 0 h 393599"/>
                <a:gd name="connsiteX2" fmla="*/ 160918 w 160918"/>
                <a:gd name="connsiteY2" fmla="*/ 334068 h 393599"/>
                <a:gd name="connsiteX3" fmla="*/ 2381 w 160918"/>
                <a:gd name="connsiteY3" fmla="*/ 393599 h 393599"/>
                <a:gd name="connsiteX4" fmla="*/ 0 w 160918"/>
                <a:gd name="connsiteY4" fmla="*/ 0 h 39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918" h="393599">
                  <a:moveTo>
                    <a:pt x="0" y="0"/>
                  </a:moveTo>
                  <a:lnTo>
                    <a:pt x="158537" y="0"/>
                  </a:lnTo>
                  <a:cubicBezTo>
                    <a:pt x="160124" y="112150"/>
                    <a:pt x="159331" y="221918"/>
                    <a:pt x="160918" y="334068"/>
                  </a:cubicBezTo>
                  <a:cubicBezTo>
                    <a:pt x="112834" y="365819"/>
                    <a:pt x="86183" y="383280"/>
                    <a:pt x="2381" y="393599"/>
                  </a:cubicBezTo>
                  <a:cubicBezTo>
                    <a:pt x="1587" y="264780"/>
                    <a:pt x="794" y="128819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-697456" y="3123688"/>
              <a:ext cx="72467" cy="228169"/>
            </a:xfrm>
            <a:custGeom>
              <a:avLst/>
              <a:gdLst>
                <a:gd name="connsiteX0" fmla="*/ 0 w 158537"/>
                <a:gd name="connsiteY0" fmla="*/ 0 h 602855"/>
                <a:gd name="connsiteX1" fmla="*/ 158537 w 158537"/>
                <a:gd name="connsiteY1" fmla="*/ 0 h 602855"/>
                <a:gd name="connsiteX2" fmla="*/ 158537 w 158537"/>
                <a:gd name="connsiteY2" fmla="*/ 602855 h 602855"/>
                <a:gd name="connsiteX3" fmla="*/ 0 w 158537"/>
                <a:gd name="connsiteY3" fmla="*/ 602855 h 602855"/>
                <a:gd name="connsiteX4" fmla="*/ 0 w 158537"/>
                <a:gd name="connsiteY4" fmla="*/ 0 h 602855"/>
                <a:gd name="connsiteX0" fmla="*/ 2381 w 160918"/>
                <a:gd name="connsiteY0" fmla="*/ 0 h 602855"/>
                <a:gd name="connsiteX1" fmla="*/ 160918 w 160918"/>
                <a:gd name="connsiteY1" fmla="*/ 0 h 602855"/>
                <a:gd name="connsiteX2" fmla="*/ 160918 w 160918"/>
                <a:gd name="connsiteY2" fmla="*/ 602855 h 602855"/>
                <a:gd name="connsiteX3" fmla="*/ 0 w 160918"/>
                <a:gd name="connsiteY3" fmla="*/ 505224 h 602855"/>
                <a:gd name="connsiteX4" fmla="*/ 2381 w 160918"/>
                <a:gd name="connsiteY4" fmla="*/ 0 h 602855"/>
                <a:gd name="connsiteX0" fmla="*/ 2381 w 160918"/>
                <a:gd name="connsiteY0" fmla="*/ 0 h 505224"/>
                <a:gd name="connsiteX1" fmla="*/ 160918 w 160918"/>
                <a:gd name="connsiteY1" fmla="*/ 0 h 505224"/>
                <a:gd name="connsiteX2" fmla="*/ 158536 w 160918"/>
                <a:gd name="connsiteY2" fmla="*/ 236143 h 505224"/>
                <a:gd name="connsiteX3" fmla="*/ 0 w 160918"/>
                <a:gd name="connsiteY3" fmla="*/ 505224 h 505224"/>
                <a:gd name="connsiteX4" fmla="*/ 2381 w 160918"/>
                <a:gd name="connsiteY4" fmla="*/ 0 h 505224"/>
                <a:gd name="connsiteX0" fmla="*/ 2381 w 160918"/>
                <a:gd name="connsiteY0" fmla="*/ 0 h 505224"/>
                <a:gd name="connsiteX1" fmla="*/ 160918 w 160918"/>
                <a:gd name="connsiteY1" fmla="*/ 0 h 505224"/>
                <a:gd name="connsiteX2" fmla="*/ 158536 w 160918"/>
                <a:gd name="connsiteY2" fmla="*/ 236143 h 505224"/>
                <a:gd name="connsiteX3" fmla="*/ 0 w 160918"/>
                <a:gd name="connsiteY3" fmla="*/ 505224 h 505224"/>
                <a:gd name="connsiteX4" fmla="*/ 2381 w 160918"/>
                <a:gd name="connsiteY4" fmla="*/ 0 h 505224"/>
                <a:gd name="connsiteX0" fmla="*/ 2381 w 160918"/>
                <a:gd name="connsiteY0" fmla="*/ 0 h 505224"/>
                <a:gd name="connsiteX1" fmla="*/ 160918 w 160918"/>
                <a:gd name="connsiteY1" fmla="*/ 0 h 505224"/>
                <a:gd name="connsiteX2" fmla="*/ 158536 w 160918"/>
                <a:gd name="connsiteY2" fmla="*/ 236143 h 505224"/>
                <a:gd name="connsiteX3" fmla="*/ 0 w 160918"/>
                <a:gd name="connsiteY3" fmla="*/ 505224 h 505224"/>
                <a:gd name="connsiteX4" fmla="*/ 2381 w 160918"/>
                <a:gd name="connsiteY4" fmla="*/ 0 h 505224"/>
                <a:gd name="connsiteX0" fmla="*/ 2381 w 160918"/>
                <a:gd name="connsiteY0" fmla="*/ 0 h 505224"/>
                <a:gd name="connsiteX1" fmla="*/ 160918 w 160918"/>
                <a:gd name="connsiteY1" fmla="*/ 0 h 505224"/>
                <a:gd name="connsiteX2" fmla="*/ 158536 w 160918"/>
                <a:gd name="connsiteY2" fmla="*/ 236143 h 505224"/>
                <a:gd name="connsiteX3" fmla="*/ 0 w 160918"/>
                <a:gd name="connsiteY3" fmla="*/ 505224 h 505224"/>
                <a:gd name="connsiteX4" fmla="*/ 2381 w 160918"/>
                <a:gd name="connsiteY4" fmla="*/ 0 h 505224"/>
                <a:gd name="connsiteX0" fmla="*/ 2381 w 160918"/>
                <a:gd name="connsiteY0" fmla="*/ 1135 h 506359"/>
                <a:gd name="connsiteX1" fmla="*/ 110687 w 160918"/>
                <a:gd name="connsiteY1" fmla="*/ 0 h 506359"/>
                <a:gd name="connsiteX2" fmla="*/ 160918 w 160918"/>
                <a:gd name="connsiteY2" fmla="*/ 1135 h 506359"/>
                <a:gd name="connsiteX3" fmla="*/ 158536 w 160918"/>
                <a:gd name="connsiteY3" fmla="*/ 237278 h 506359"/>
                <a:gd name="connsiteX4" fmla="*/ 0 w 160918"/>
                <a:gd name="connsiteY4" fmla="*/ 506359 h 506359"/>
                <a:gd name="connsiteX5" fmla="*/ 2381 w 160918"/>
                <a:gd name="connsiteY5" fmla="*/ 1135 h 506359"/>
                <a:gd name="connsiteX0" fmla="*/ 2381 w 160918"/>
                <a:gd name="connsiteY0" fmla="*/ 1135 h 506359"/>
                <a:gd name="connsiteX1" fmla="*/ 110687 w 160918"/>
                <a:gd name="connsiteY1" fmla="*/ 0 h 506359"/>
                <a:gd name="connsiteX2" fmla="*/ 160918 w 160918"/>
                <a:gd name="connsiteY2" fmla="*/ 1135 h 506359"/>
                <a:gd name="connsiteX3" fmla="*/ 155931 w 160918"/>
                <a:gd name="connsiteY3" fmla="*/ 54768 h 506359"/>
                <a:gd name="connsiteX4" fmla="*/ 158536 w 160918"/>
                <a:gd name="connsiteY4" fmla="*/ 237278 h 506359"/>
                <a:gd name="connsiteX5" fmla="*/ 0 w 160918"/>
                <a:gd name="connsiteY5" fmla="*/ 506359 h 506359"/>
                <a:gd name="connsiteX6" fmla="*/ 2381 w 160918"/>
                <a:gd name="connsiteY6" fmla="*/ 1135 h 506359"/>
                <a:gd name="connsiteX0" fmla="*/ 2381 w 158536"/>
                <a:gd name="connsiteY0" fmla="*/ 1135 h 506359"/>
                <a:gd name="connsiteX1" fmla="*/ 110687 w 158536"/>
                <a:gd name="connsiteY1" fmla="*/ 0 h 506359"/>
                <a:gd name="connsiteX2" fmla="*/ 155931 w 158536"/>
                <a:gd name="connsiteY2" fmla="*/ 54768 h 506359"/>
                <a:gd name="connsiteX3" fmla="*/ 158536 w 158536"/>
                <a:gd name="connsiteY3" fmla="*/ 237278 h 506359"/>
                <a:gd name="connsiteX4" fmla="*/ 0 w 158536"/>
                <a:gd name="connsiteY4" fmla="*/ 506359 h 506359"/>
                <a:gd name="connsiteX5" fmla="*/ 2381 w 158536"/>
                <a:gd name="connsiteY5" fmla="*/ 1135 h 506359"/>
                <a:gd name="connsiteX0" fmla="*/ 2381 w 163157"/>
                <a:gd name="connsiteY0" fmla="*/ 1135 h 506359"/>
                <a:gd name="connsiteX1" fmla="*/ 110687 w 163157"/>
                <a:gd name="connsiteY1" fmla="*/ 0 h 506359"/>
                <a:gd name="connsiteX2" fmla="*/ 163075 w 163157"/>
                <a:gd name="connsiteY2" fmla="*/ 97630 h 506359"/>
                <a:gd name="connsiteX3" fmla="*/ 158536 w 163157"/>
                <a:gd name="connsiteY3" fmla="*/ 237278 h 506359"/>
                <a:gd name="connsiteX4" fmla="*/ 0 w 163157"/>
                <a:gd name="connsiteY4" fmla="*/ 506359 h 506359"/>
                <a:gd name="connsiteX5" fmla="*/ 2381 w 163157"/>
                <a:gd name="connsiteY5" fmla="*/ 1135 h 506359"/>
                <a:gd name="connsiteX0" fmla="*/ 2381 w 163157"/>
                <a:gd name="connsiteY0" fmla="*/ 1135 h 506359"/>
                <a:gd name="connsiteX1" fmla="*/ 110687 w 163157"/>
                <a:gd name="connsiteY1" fmla="*/ 0 h 506359"/>
                <a:gd name="connsiteX2" fmla="*/ 163075 w 163157"/>
                <a:gd name="connsiteY2" fmla="*/ 97630 h 506359"/>
                <a:gd name="connsiteX3" fmla="*/ 158536 w 163157"/>
                <a:gd name="connsiteY3" fmla="*/ 237278 h 506359"/>
                <a:gd name="connsiteX4" fmla="*/ 0 w 163157"/>
                <a:gd name="connsiteY4" fmla="*/ 506359 h 506359"/>
                <a:gd name="connsiteX5" fmla="*/ 2381 w 163157"/>
                <a:gd name="connsiteY5" fmla="*/ 1135 h 506359"/>
                <a:gd name="connsiteX0" fmla="*/ 2381 w 160821"/>
                <a:gd name="connsiteY0" fmla="*/ 1135 h 506359"/>
                <a:gd name="connsiteX1" fmla="*/ 110687 w 160821"/>
                <a:gd name="connsiteY1" fmla="*/ 0 h 506359"/>
                <a:gd name="connsiteX2" fmla="*/ 160694 w 160821"/>
                <a:gd name="connsiteY2" fmla="*/ 97630 h 506359"/>
                <a:gd name="connsiteX3" fmla="*/ 158536 w 160821"/>
                <a:gd name="connsiteY3" fmla="*/ 237278 h 506359"/>
                <a:gd name="connsiteX4" fmla="*/ 0 w 160821"/>
                <a:gd name="connsiteY4" fmla="*/ 506359 h 506359"/>
                <a:gd name="connsiteX5" fmla="*/ 2381 w 160821"/>
                <a:gd name="connsiteY5" fmla="*/ 1135 h 50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821" h="506359">
                  <a:moveTo>
                    <a:pt x="2381" y="1135"/>
                  </a:moveTo>
                  <a:lnTo>
                    <a:pt x="110687" y="0"/>
                  </a:lnTo>
                  <a:cubicBezTo>
                    <a:pt x="132912" y="18255"/>
                    <a:pt x="143231" y="65087"/>
                    <a:pt x="160694" y="97630"/>
                  </a:cubicBezTo>
                  <a:cubicBezTo>
                    <a:pt x="161562" y="158467"/>
                    <a:pt x="157668" y="176441"/>
                    <a:pt x="158536" y="237278"/>
                  </a:cubicBezTo>
                  <a:cubicBezTo>
                    <a:pt x="150935" y="281729"/>
                    <a:pt x="107614" y="416665"/>
                    <a:pt x="0" y="506359"/>
                  </a:cubicBezTo>
                  <a:cubicBezTo>
                    <a:pt x="794" y="337951"/>
                    <a:pt x="1587" y="169543"/>
                    <a:pt x="2381" y="1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07" name="Oval 2050"/>
          <p:cNvSpPr/>
          <p:nvPr/>
        </p:nvSpPr>
        <p:spPr>
          <a:xfrm>
            <a:off x="4354599" y="2360057"/>
            <a:ext cx="286352" cy="344276"/>
          </a:xfrm>
          <a:custGeom>
            <a:avLst/>
            <a:gdLst/>
            <a:ahLst/>
            <a:cxnLst/>
            <a:rect l="l" t="t" r="r" b="b"/>
            <a:pathLst>
              <a:path w="1147763" h="1379935">
                <a:moveTo>
                  <a:pt x="800462" y="1079197"/>
                </a:moveTo>
                <a:cubicBezTo>
                  <a:pt x="796254" y="1079197"/>
                  <a:pt x="792842" y="1082609"/>
                  <a:pt x="792842" y="1086817"/>
                </a:cubicBezTo>
                <a:lnTo>
                  <a:pt x="792842" y="1117296"/>
                </a:lnTo>
                <a:cubicBezTo>
                  <a:pt x="792842" y="1121504"/>
                  <a:pt x="796254" y="1124916"/>
                  <a:pt x="800462" y="1124916"/>
                </a:cubicBezTo>
                <a:lnTo>
                  <a:pt x="1059542" y="1124916"/>
                </a:lnTo>
                <a:cubicBezTo>
                  <a:pt x="1063750" y="1124916"/>
                  <a:pt x="1067162" y="1121504"/>
                  <a:pt x="1067162" y="1117296"/>
                </a:cubicBezTo>
                <a:lnTo>
                  <a:pt x="1067162" y="1086817"/>
                </a:lnTo>
                <a:cubicBezTo>
                  <a:pt x="1067162" y="1082609"/>
                  <a:pt x="1063750" y="1079197"/>
                  <a:pt x="1059542" y="1079197"/>
                </a:cubicBezTo>
                <a:close/>
                <a:moveTo>
                  <a:pt x="573881" y="667716"/>
                </a:moveTo>
                <a:lnTo>
                  <a:pt x="710203" y="772716"/>
                </a:lnTo>
                <a:lnTo>
                  <a:pt x="573878" y="1222772"/>
                </a:lnTo>
                <a:lnTo>
                  <a:pt x="437559" y="772716"/>
                </a:lnTo>
                <a:close/>
                <a:moveTo>
                  <a:pt x="851059" y="612473"/>
                </a:moveTo>
                <a:lnTo>
                  <a:pt x="1019850" y="612473"/>
                </a:lnTo>
                <a:cubicBezTo>
                  <a:pt x="1090494" y="612473"/>
                  <a:pt x="1147763" y="669742"/>
                  <a:pt x="1147763" y="740386"/>
                </a:cubicBezTo>
                <a:lnTo>
                  <a:pt x="1147763" y="1252022"/>
                </a:lnTo>
                <a:cubicBezTo>
                  <a:pt x="1147763" y="1322666"/>
                  <a:pt x="1090494" y="1379935"/>
                  <a:pt x="1019850" y="1379935"/>
                </a:cubicBezTo>
                <a:lnTo>
                  <a:pt x="618845" y="1379935"/>
                </a:lnTo>
                <a:close/>
                <a:moveTo>
                  <a:pt x="127913" y="612473"/>
                </a:moveTo>
                <a:lnTo>
                  <a:pt x="296703" y="612473"/>
                </a:lnTo>
                <a:lnTo>
                  <a:pt x="528917" y="1379935"/>
                </a:lnTo>
                <a:lnTo>
                  <a:pt x="127913" y="1379935"/>
                </a:lnTo>
                <a:cubicBezTo>
                  <a:pt x="57269" y="1379935"/>
                  <a:pt x="0" y="1322666"/>
                  <a:pt x="0" y="1252022"/>
                </a:cubicBezTo>
                <a:lnTo>
                  <a:pt x="0" y="740386"/>
                </a:lnTo>
                <a:cubicBezTo>
                  <a:pt x="0" y="669742"/>
                  <a:pt x="57269" y="612473"/>
                  <a:pt x="127913" y="612473"/>
                </a:cubicBezTo>
                <a:close/>
                <a:moveTo>
                  <a:pt x="573881" y="0"/>
                </a:moveTo>
                <a:cubicBezTo>
                  <a:pt x="733013" y="0"/>
                  <a:pt x="862015" y="129001"/>
                  <a:pt x="862015" y="288132"/>
                </a:cubicBezTo>
                <a:cubicBezTo>
                  <a:pt x="862015" y="447263"/>
                  <a:pt x="733013" y="576264"/>
                  <a:pt x="573881" y="576264"/>
                </a:cubicBezTo>
                <a:cubicBezTo>
                  <a:pt x="414749" y="576264"/>
                  <a:pt x="285747" y="447263"/>
                  <a:pt x="285747" y="288132"/>
                </a:cubicBezTo>
                <a:cubicBezTo>
                  <a:pt x="285747" y="129001"/>
                  <a:pt x="414749" y="0"/>
                  <a:pt x="573881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2527084" y="3709762"/>
            <a:ext cx="340698" cy="338036"/>
            <a:chOff x="5579476" y="2916503"/>
            <a:chExt cx="1033047" cy="1024981"/>
          </a:xfrm>
        </p:grpSpPr>
        <p:sp>
          <p:nvSpPr>
            <p:cNvPr id="108" name="Donut 15"/>
            <p:cNvSpPr/>
            <p:nvPr/>
          </p:nvSpPr>
          <p:spPr>
            <a:xfrm rot="20036216">
              <a:off x="5840133" y="3191091"/>
              <a:ext cx="511734" cy="475818"/>
            </a:xfrm>
            <a:custGeom>
              <a:avLst/>
              <a:gdLst/>
              <a:ahLst/>
              <a:cxnLst/>
              <a:rect l="l" t="t" r="r" b="b"/>
              <a:pathLst>
                <a:path w="1146150" h="1065703">
                  <a:moveTo>
                    <a:pt x="567201" y="212003"/>
                  </a:moveTo>
                  <a:cubicBezTo>
                    <a:pt x="389110" y="212003"/>
                    <a:pt x="244738" y="356453"/>
                    <a:pt x="244738" y="534640"/>
                  </a:cubicBezTo>
                  <a:cubicBezTo>
                    <a:pt x="244738" y="712827"/>
                    <a:pt x="389110" y="857277"/>
                    <a:pt x="567201" y="857277"/>
                  </a:cubicBezTo>
                  <a:cubicBezTo>
                    <a:pt x="745292" y="857277"/>
                    <a:pt x="889664" y="712827"/>
                    <a:pt x="889664" y="534640"/>
                  </a:cubicBezTo>
                  <a:cubicBezTo>
                    <a:pt x="889664" y="356453"/>
                    <a:pt x="745292" y="212003"/>
                    <a:pt x="567201" y="212003"/>
                  </a:cubicBezTo>
                  <a:close/>
                  <a:moveTo>
                    <a:pt x="750937" y="1965"/>
                  </a:moveTo>
                  <a:cubicBezTo>
                    <a:pt x="761920" y="-1389"/>
                    <a:pt x="774183" y="-554"/>
                    <a:pt x="785123" y="5267"/>
                  </a:cubicBezTo>
                  <a:lnTo>
                    <a:pt x="867343" y="49014"/>
                  </a:lnTo>
                  <a:cubicBezTo>
                    <a:pt x="889221" y="60655"/>
                    <a:pt x="897520" y="87828"/>
                    <a:pt x="885879" y="109707"/>
                  </a:cubicBezTo>
                  <a:lnTo>
                    <a:pt x="839281" y="197285"/>
                  </a:lnTo>
                  <a:cubicBezTo>
                    <a:pt x="904218" y="248116"/>
                    <a:pt x="953621" y="317443"/>
                    <a:pt x="977763" y="398138"/>
                  </a:cubicBezTo>
                  <a:lnTo>
                    <a:pt x="1077621" y="380769"/>
                  </a:lnTo>
                  <a:cubicBezTo>
                    <a:pt x="1102038" y="376523"/>
                    <a:pt x="1125273" y="392873"/>
                    <a:pt x="1129520" y="417289"/>
                  </a:cubicBezTo>
                  <a:lnTo>
                    <a:pt x="1145479" y="509046"/>
                  </a:lnTo>
                  <a:cubicBezTo>
                    <a:pt x="1149726" y="533462"/>
                    <a:pt x="1133376" y="556698"/>
                    <a:pt x="1108959" y="560944"/>
                  </a:cubicBezTo>
                  <a:lnTo>
                    <a:pt x="997858" y="580268"/>
                  </a:lnTo>
                  <a:cubicBezTo>
                    <a:pt x="988900" y="675147"/>
                    <a:pt x="949134" y="760933"/>
                    <a:pt x="887371" y="826544"/>
                  </a:cubicBezTo>
                  <a:lnTo>
                    <a:pt x="943982" y="908607"/>
                  </a:lnTo>
                  <a:cubicBezTo>
                    <a:pt x="958055" y="929006"/>
                    <a:pt x="952926" y="956951"/>
                    <a:pt x="932527" y="971024"/>
                  </a:cubicBezTo>
                  <a:lnTo>
                    <a:pt x="855865" y="1023910"/>
                  </a:lnTo>
                  <a:cubicBezTo>
                    <a:pt x="835465" y="1037983"/>
                    <a:pt x="807520" y="1032854"/>
                    <a:pt x="793447" y="1012454"/>
                  </a:cubicBezTo>
                  <a:lnTo>
                    <a:pt x="739069" y="933629"/>
                  </a:lnTo>
                  <a:cubicBezTo>
                    <a:pt x="686687" y="957426"/>
                    <a:pt x="628420" y="970069"/>
                    <a:pt x="567201" y="970069"/>
                  </a:cubicBezTo>
                  <a:cubicBezTo>
                    <a:pt x="530761" y="970069"/>
                    <a:pt x="495366" y="965589"/>
                    <a:pt x="461915" y="955643"/>
                  </a:cubicBezTo>
                  <a:lnTo>
                    <a:pt x="400579" y="1046024"/>
                  </a:lnTo>
                  <a:cubicBezTo>
                    <a:pt x="386663" y="1066531"/>
                    <a:pt x="358758" y="1071873"/>
                    <a:pt x="338251" y="1057956"/>
                  </a:cubicBezTo>
                  <a:lnTo>
                    <a:pt x="261187" y="1005658"/>
                  </a:lnTo>
                  <a:cubicBezTo>
                    <a:pt x="240681" y="991741"/>
                    <a:pt x="235339" y="963836"/>
                    <a:pt x="249255" y="943330"/>
                  </a:cubicBezTo>
                  <a:lnTo>
                    <a:pt x="295891" y="874611"/>
                  </a:lnTo>
                  <a:cubicBezTo>
                    <a:pt x="218676" y="813301"/>
                    <a:pt x="163119" y="726056"/>
                    <a:pt x="141932" y="626080"/>
                  </a:cubicBezTo>
                  <a:lnTo>
                    <a:pt x="44873" y="626080"/>
                  </a:lnTo>
                  <a:cubicBezTo>
                    <a:pt x="20090" y="626080"/>
                    <a:pt x="0" y="605990"/>
                    <a:pt x="0" y="581207"/>
                  </a:cubicBezTo>
                  <a:lnTo>
                    <a:pt x="0" y="488073"/>
                  </a:lnTo>
                  <a:cubicBezTo>
                    <a:pt x="0" y="463290"/>
                    <a:pt x="20090" y="443200"/>
                    <a:pt x="44873" y="443200"/>
                  </a:cubicBezTo>
                  <a:lnTo>
                    <a:pt x="141933" y="443200"/>
                  </a:lnTo>
                  <a:cubicBezTo>
                    <a:pt x="159897" y="358428"/>
                    <a:pt x="202573" y="282810"/>
                    <a:pt x="263111" y="225275"/>
                  </a:cubicBezTo>
                  <a:lnTo>
                    <a:pt x="204256" y="146400"/>
                  </a:lnTo>
                  <a:cubicBezTo>
                    <a:pt x="189435" y="126537"/>
                    <a:pt x="193522" y="98421"/>
                    <a:pt x="213385" y="83600"/>
                  </a:cubicBezTo>
                  <a:lnTo>
                    <a:pt x="288029" y="27902"/>
                  </a:lnTo>
                  <a:cubicBezTo>
                    <a:pt x="307892" y="13081"/>
                    <a:pt x="336008" y="17168"/>
                    <a:pt x="350829" y="37031"/>
                  </a:cubicBezTo>
                  <a:lnTo>
                    <a:pt x="417147" y="125909"/>
                  </a:lnTo>
                  <a:cubicBezTo>
                    <a:pt x="463890" y="108599"/>
                    <a:pt x="514450" y="99211"/>
                    <a:pt x="567201" y="99211"/>
                  </a:cubicBezTo>
                  <a:cubicBezTo>
                    <a:pt x="604953" y="99211"/>
                    <a:pt x="641582" y="104019"/>
                    <a:pt x="676101" y="114635"/>
                  </a:cubicBezTo>
                  <a:lnTo>
                    <a:pt x="724430" y="23803"/>
                  </a:lnTo>
                  <a:cubicBezTo>
                    <a:pt x="730251" y="12864"/>
                    <a:pt x="739954" y="5320"/>
                    <a:pt x="750937" y="196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39"/>
            <p:cNvSpPr>
              <a:spLocks/>
            </p:cNvSpPr>
            <p:nvPr/>
          </p:nvSpPr>
          <p:spPr bwMode="auto">
            <a:xfrm>
              <a:off x="5579476" y="3537949"/>
              <a:ext cx="1016906" cy="403535"/>
            </a:xfrm>
            <a:custGeom>
              <a:avLst/>
              <a:gdLst>
                <a:gd name="T0" fmla="*/ 332 w 380"/>
                <a:gd name="T1" fmla="*/ 0 h 151"/>
                <a:gd name="T2" fmla="*/ 332 w 380"/>
                <a:gd name="T3" fmla="*/ 0 h 151"/>
                <a:gd name="T4" fmla="*/ 192 w 380"/>
                <a:gd name="T5" fmla="*/ 105 h 151"/>
                <a:gd name="T6" fmla="*/ 67 w 380"/>
                <a:gd name="T7" fmla="*/ 35 h 151"/>
                <a:gd name="T8" fmla="*/ 87 w 380"/>
                <a:gd name="T9" fmla="*/ 14 h 151"/>
                <a:gd name="T10" fmla="*/ 82 w 380"/>
                <a:gd name="T11" fmla="*/ 0 h 151"/>
                <a:gd name="T12" fmla="*/ 0 w 380"/>
                <a:gd name="T13" fmla="*/ 0 h 151"/>
                <a:gd name="T14" fmla="*/ 0 w 380"/>
                <a:gd name="T15" fmla="*/ 82 h 151"/>
                <a:gd name="T16" fmla="*/ 14 w 380"/>
                <a:gd name="T17" fmla="*/ 88 h 151"/>
                <a:gd name="T18" fmla="*/ 34 w 380"/>
                <a:gd name="T19" fmla="*/ 68 h 151"/>
                <a:gd name="T20" fmla="*/ 192 w 380"/>
                <a:gd name="T21" fmla="*/ 151 h 151"/>
                <a:gd name="T22" fmla="*/ 380 w 380"/>
                <a:gd name="T23" fmla="*/ 0 h 151"/>
                <a:gd name="T24" fmla="*/ 332 w 380"/>
                <a:gd name="T2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0" h="151">
                  <a:moveTo>
                    <a:pt x="332" y="0"/>
                  </a:moveTo>
                  <a:lnTo>
                    <a:pt x="332" y="0"/>
                  </a:lnTo>
                  <a:cubicBezTo>
                    <a:pt x="315" y="61"/>
                    <a:pt x="258" y="105"/>
                    <a:pt x="192" y="105"/>
                  </a:cubicBezTo>
                  <a:cubicBezTo>
                    <a:pt x="139" y="105"/>
                    <a:pt x="93" y="77"/>
                    <a:pt x="67" y="35"/>
                  </a:cubicBezTo>
                  <a:lnTo>
                    <a:pt x="87" y="14"/>
                  </a:lnTo>
                  <a:cubicBezTo>
                    <a:pt x="95" y="7"/>
                    <a:pt x="93" y="0"/>
                    <a:pt x="82" y="0"/>
                  </a:cubicBezTo>
                  <a:lnTo>
                    <a:pt x="0" y="0"/>
                  </a:lnTo>
                  <a:lnTo>
                    <a:pt x="0" y="82"/>
                  </a:lnTo>
                  <a:cubicBezTo>
                    <a:pt x="0" y="93"/>
                    <a:pt x="6" y="96"/>
                    <a:pt x="14" y="88"/>
                  </a:cubicBezTo>
                  <a:lnTo>
                    <a:pt x="34" y="68"/>
                  </a:lnTo>
                  <a:cubicBezTo>
                    <a:pt x="69" y="118"/>
                    <a:pt x="126" y="151"/>
                    <a:pt x="192" y="151"/>
                  </a:cubicBezTo>
                  <a:cubicBezTo>
                    <a:pt x="284" y="151"/>
                    <a:pt x="361" y="86"/>
                    <a:pt x="380" y="0"/>
                  </a:cubicBezTo>
                  <a:lnTo>
                    <a:pt x="33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1" name="Freeform 40"/>
            <p:cNvSpPr>
              <a:spLocks/>
            </p:cNvSpPr>
            <p:nvPr/>
          </p:nvSpPr>
          <p:spPr bwMode="auto">
            <a:xfrm>
              <a:off x="5591581" y="2916503"/>
              <a:ext cx="1020942" cy="407571"/>
            </a:xfrm>
            <a:custGeom>
              <a:avLst/>
              <a:gdLst>
                <a:gd name="T0" fmla="*/ 48 w 381"/>
                <a:gd name="T1" fmla="*/ 152 h 152"/>
                <a:gd name="T2" fmla="*/ 48 w 381"/>
                <a:gd name="T3" fmla="*/ 152 h 152"/>
                <a:gd name="T4" fmla="*/ 188 w 381"/>
                <a:gd name="T5" fmla="*/ 46 h 152"/>
                <a:gd name="T6" fmla="*/ 313 w 381"/>
                <a:gd name="T7" fmla="*/ 117 h 152"/>
                <a:gd name="T8" fmla="*/ 293 w 381"/>
                <a:gd name="T9" fmla="*/ 137 h 152"/>
                <a:gd name="T10" fmla="*/ 299 w 381"/>
                <a:gd name="T11" fmla="*/ 152 h 152"/>
                <a:gd name="T12" fmla="*/ 381 w 381"/>
                <a:gd name="T13" fmla="*/ 152 h 152"/>
                <a:gd name="T14" fmla="*/ 381 w 381"/>
                <a:gd name="T15" fmla="*/ 70 h 152"/>
                <a:gd name="T16" fmla="*/ 366 w 381"/>
                <a:gd name="T17" fmla="*/ 64 h 152"/>
                <a:gd name="T18" fmla="*/ 346 w 381"/>
                <a:gd name="T19" fmla="*/ 84 h 152"/>
                <a:gd name="T20" fmla="*/ 188 w 381"/>
                <a:gd name="T21" fmla="*/ 0 h 152"/>
                <a:gd name="T22" fmla="*/ 0 w 381"/>
                <a:gd name="T23" fmla="*/ 152 h 152"/>
                <a:gd name="T24" fmla="*/ 48 w 381"/>
                <a:gd name="T2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152">
                  <a:moveTo>
                    <a:pt x="48" y="152"/>
                  </a:moveTo>
                  <a:lnTo>
                    <a:pt x="48" y="152"/>
                  </a:lnTo>
                  <a:cubicBezTo>
                    <a:pt x="65" y="91"/>
                    <a:pt x="122" y="46"/>
                    <a:pt x="188" y="46"/>
                  </a:cubicBezTo>
                  <a:cubicBezTo>
                    <a:pt x="241" y="46"/>
                    <a:pt x="287" y="75"/>
                    <a:pt x="313" y="117"/>
                  </a:cubicBezTo>
                  <a:lnTo>
                    <a:pt x="293" y="137"/>
                  </a:lnTo>
                  <a:cubicBezTo>
                    <a:pt x="285" y="145"/>
                    <a:pt x="288" y="152"/>
                    <a:pt x="299" y="152"/>
                  </a:cubicBezTo>
                  <a:lnTo>
                    <a:pt x="381" y="152"/>
                  </a:lnTo>
                  <a:lnTo>
                    <a:pt x="381" y="70"/>
                  </a:lnTo>
                  <a:cubicBezTo>
                    <a:pt x="381" y="59"/>
                    <a:pt x="374" y="56"/>
                    <a:pt x="366" y="64"/>
                  </a:cubicBezTo>
                  <a:lnTo>
                    <a:pt x="346" y="84"/>
                  </a:lnTo>
                  <a:cubicBezTo>
                    <a:pt x="312" y="33"/>
                    <a:pt x="254" y="0"/>
                    <a:pt x="188" y="0"/>
                  </a:cubicBezTo>
                  <a:cubicBezTo>
                    <a:pt x="96" y="0"/>
                    <a:pt x="19" y="65"/>
                    <a:pt x="0" y="152"/>
                  </a:cubicBezTo>
                  <a:lnTo>
                    <a:pt x="48" y="15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15" name="Freeform 127"/>
          <p:cNvSpPr/>
          <p:nvPr/>
        </p:nvSpPr>
        <p:spPr bwMode="auto">
          <a:xfrm>
            <a:off x="4410952" y="3746269"/>
            <a:ext cx="173646" cy="318882"/>
          </a:xfrm>
          <a:custGeom>
            <a:avLst/>
            <a:gdLst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38425"/>
              <a:gd name="connsiteY0" fmla="*/ 0 h 4914900"/>
              <a:gd name="connsiteX1" fmla="*/ 1676400 w 2638425"/>
              <a:gd name="connsiteY1" fmla="*/ 0 h 4914900"/>
              <a:gd name="connsiteX2" fmla="*/ 1676400 w 2638425"/>
              <a:gd name="connsiteY2" fmla="*/ 523875 h 4914900"/>
              <a:gd name="connsiteX3" fmla="*/ 2466975 w 2638425"/>
              <a:gd name="connsiteY3" fmla="*/ 647700 h 4914900"/>
              <a:gd name="connsiteX4" fmla="*/ 2466975 w 2638425"/>
              <a:gd name="connsiteY4" fmla="*/ 1628775 h 4914900"/>
              <a:gd name="connsiteX5" fmla="*/ 1276350 w 2638425"/>
              <a:gd name="connsiteY5" fmla="*/ 1400175 h 4914900"/>
              <a:gd name="connsiteX6" fmla="*/ 1238250 w 2638425"/>
              <a:gd name="connsiteY6" fmla="*/ 1800225 h 4914900"/>
              <a:gd name="connsiteX7" fmla="*/ 2638425 w 2638425"/>
              <a:gd name="connsiteY7" fmla="*/ 3276600 h 4914900"/>
              <a:gd name="connsiteX8" fmla="*/ 1685925 w 2638425"/>
              <a:gd name="connsiteY8" fmla="*/ 4305300 h 4914900"/>
              <a:gd name="connsiteX9" fmla="*/ 1685925 w 2638425"/>
              <a:gd name="connsiteY9" fmla="*/ 4914900 h 4914900"/>
              <a:gd name="connsiteX10" fmla="*/ 1038225 w 2638425"/>
              <a:gd name="connsiteY10" fmla="*/ 4914900 h 4914900"/>
              <a:gd name="connsiteX11" fmla="*/ 1038225 w 2638425"/>
              <a:gd name="connsiteY11" fmla="*/ 4381500 h 4914900"/>
              <a:gd name="connsiteX12" fmla="*/ 19050 w 2638425"/>
              <a:gd name="connsiteY12" fmla="*/ 4152900 h 4914900"/>
              <a:gd name="connsiteX13" fmla="*/ 19050 w 2638425"/>
              <a:gd name="connsiteY13" fmla="*/ 3133725 h 4914900"/>
              <a:gd name="connsiteX14" fmla="*/ 1181100 w 2638425"/>
              <a:gd name="connsiteY14" fmla="*/ 3533775 h 4914900"/>
              <a:gd name="connsiteX15" fmla="*/ 1333500 w 2638425"/>
              <a:gd name="connsiteY15" fmla="*/ 3086100 h 4914900"/>
              <a:gd name="connsiteX16" fmla="*/ 0 w 2638425"/>
              <a:gd name="connsiteY16" fmla="*/ 1447800 h 4914900"/>
              <a:gd name="connsiteX17" fmla="*/ 1038225 w 2638425"/>
              <a:gd name="connsiteY17" fmla="*/ 561975 h 4914900"/>
              <a:gd name="connsiteX18" fmla="*/ 1028700 w 2638425"/>
              <a:gd name="connsiteY18" fmla="*/ 0 h 4914900"/>
              <a:gd name="connsiteX0" fmla="*/ 1028700 w 2641426"/>
              <a:gd name="connsiteY0" fmla="*/ 0 h 4914900"/>
              <a:gd name="connsiteX1" fmla="*/ 1676400 w 2641426"/>
              <a:gd name="connsiteY1" fmla="*/ 0 h 4914900"/>
              <a:gd name="connsiteX2" fmla="*/ 1676400 w 2641426"/>
              <a:gd name="connsiteY2" fmla="*/ 523875 h 4914900"/>
              <a:gd name="connsiteX3" fmla="*/ 2466975 w 2641426"/>
              <a:gd name="connsiteY3" fmla="*/ 647700 h 4914900"/>
              <a:gd name="connsiteX4" fmla="*/ 2466975 w 2641426"/>
              <a:gd name="connsiteY4" fmla="*/ 1628775 h 4914900"/>
              <a:gd name="connsiteX5" fmla="*/ 1276350 w 2641426"/>
              <a:gd name="connsiteY5" fmla="*/ 1400175 h 4914900"/>
              <a:gd name="connsiteX6" fmla="*/ 1238250 w 2641426"/>
              <a:gd name="connsiteY6" fmla="*/ 1800225 h 4914900"/>
              <a:gd name="connsiteX7" fmla="*/ 2638425 w 2641426"/>
              <a:gd name="connsiteY7" fmla="*/ 3276600 h 4914900"/>
              <a:gd name="connsiteX8" fmla="*/ 1685925 w 2641426"/>
              <a:gd name="connsiteY8" fmla="*/ 4305300 h 4914900"/>
              <a:gd name="connsiteX9" fmla="*/ 1685925 w 2641426"/>
              <a:gd name="connsiteY9" fmla="*/ 4914900 h 4914900"/>
              <a:gd name="connsiteX10" fmla="*/ 1038225 w 2641426"/>
              <a:gd name="connsiteY10" fmla="*/ 4914900 h 4914900"/>
              <a:gd name="connsiteX11" fmla="*/ 1038225 w 2641426"/>
              <a:gd name="connsiteY11" fmla="*/ 4381500 h 4914900"/>
              <a:gd name="connsiteX12" fmla="*/ 19050 w 2641426"/>
              <a:gd name="connsiteY12" fmla="*/ 4152900 h 4914900"/>
              <a:gd name="connsiteX13" fmla="*/ 19050 w 2641426"/>
              <a:gd name="connsiteY13" fmla="*/ 3133725 h 4914900"/>
              <a:gd name="connsiteX14" fmla="*/ 1181100 w 2641426"/>
              <a:gd name="connsiteY14" fmla="*/ 3533775 h 4914900"/>
              <a:gd name="connsiteX15" fmla="*/ 1333500 w 2641426"/>
              <a:gd name="connsiteY15" fmla="*/ 3086100 h 4914900"/>
              <a:gd name="connsiteX16" fmla="*/ 0 w 2641426"/>
              <a:gd name="connsiteY16" fmla="*/ 1447800 h 4914900"/>
              <a:gd name="connsiteX17" fmla="*/ 1038225 w 2641426"/>
              <a:gd name="connsiteY17" fmla="*/ 561975 h 4914900"/>
              <a:gd name="connsiteX18" fmla="*/ 1028700 w 2641426"/>
              <a:gd name="connsiteY18" fmla="*/ 0 h 4914900"/>
              <a:gd name="connsiteX0" fmla="*/ 1028700 w 2640867"/>
              <a:gd name="connsiteY0" fmla="*/ 0 h 4914900"/>
              <a:gd name="connsiteX1" fmla="*/ 1676400 w 2640867"/>
              <a:gd name="connsiteY1" fmla="*/ 0 h 4914900"/>
              <a:gd name="connsiteX2" fmla="*/ 1676400 w 2640867"/>
              <a:gd name="connsiteY2" fmla="*/ 523875 h 4914900"/>
              <a:gd name="connsiteX3" fmla="*/ 2466975 w 2640867"/>
              <a:gd name="connsiteY3" fmla="*/ 647700 h 4914900"/>
              <a:gd name="connsiteX4" fmla="*/ 2466975 w 2640867"/>
              <a:gd name="connsiteY4" fmla="*/ 1628775 h 4914900"/>
              <a:gd name="connsiteX5" fmla="*/ 1276350 w 2640867"/>
              <a:gd name="connsiteY5" fmla="*/ 1400175 h 4914900"/>
              <a:gd name="connsiteX6" fmla="*/ 1238250 w 2640867"/>
              <a:gd name="connsiteY6" fmla="*/ 1800225 h 4914900"/>
              <a:gd name="connsiteX7" fmla="*/ 2638425 w 2640867"/>
              <a:gd name="connsiteY7" fmla="*/ 3276600 h 4914900"/>
              <a:gd name="connsiteX8" fmla="*/ 1685925 w 2640867"/>
              <a:gd name="connsiteY8" fmla="*/ 4305300 h 4914900"/>
              <a:gd name="connsiteX9" fmla="*/ 1685925 w 2640867"/>
              <a:gd name="connsiteY9" fmla="*/ 4914900 h 4914900"/>
              <a:gd name="connsiteX10" fmla="*/ 1038225 w 2640867"/>
              <a:gd name="connsiteY10" fmla="*/ 4914900 h 4914900"/>
              <a:gd name="connsiteX11" fmla="*/ 1038225 w 2640867"/>
              <a:gd name="connsiteY11" fmla="*/ 4381500 h 4914900"/>
              <a:gd name="connsiteX12" fmla="*/ 19050 w 2640867"/>
              <a:gd name="connsiteY12" fmla="*/ 4152900 h 4914900"/>
              <a:gd name="connsiteX13" fmla="*/ 19050 w 2640867"/>
              <a:gd name="connsiteY13" fmla="*/ 3133725 h 4914900"/>
              <a:gd name="connsiteX14" fmla="*/ 1181100 w 2640867"/>
              <a:gd name="connsiteY14" fmla="*/ 3533775 h 4914900"/>
              <a:gd name="connsiteX15" fmla="*/ 1333500 w 2640867"/>
              <a:gd name="connsiteY15" fmla="*/ 3086100 h 4914900"/>
              <a:gd name="connsiteX16" fmla="*/ 0 w 2640867"/>
              <a:gd name="connsiteY16" fmla="*/ 1447800 h 4914900"/>
              <a:gd name="connsiteX17" fmla="*/ 1038225 w 2640867"/>
              <a:gd name="connsiteY17" fmla="*/ 561975 h 4914900"/>
              <a:gd name="connsiteX18" fmla="*/ 1028700 w 2640867"/>
              <a:gd name="connsiteY18" fmla="*/ 0 h 4914900"/>
              <a:gd name="connsiteX0" fmla="*/ 1028700 w 2646293"/>
              <a:gd name="connsiteY0" fmla="*/ 0 h 4914900"/>
              <a:gd name="connsiteX1" fmla="*/ 1676400 w 2646293"/>
              <a:gd name="connsiteY1" fmla="*/ 0 h 4914900"/>
              <a:gd name="connsiteX2" fmla="*/ 1676400 w 2646293"/>
              <a:gd name="connsiteY2" fmla="*/ 523875 h 4914900"/>
              <a:gd name="connsiteX3" fmla="*/ 2466975 w 2646293"/>
              <a:gd name="connsiteY3" fmla="*/ 647700 h 4914900"/>
              <a:gd name="connsiteX4" fmla="*/ 2466975 w 2646293"/>
              <a:gd name="connsiteY4" fmla="*/ 1628775 h 4914900"/>
              <a:gd name="connsiteX5" fmla="*/ 1276350 w 2646293"/>
              <a:gd name="connsiteY5" fmla="*/ 1400175 h 4914900"/>
              <a:gd name="connsiteX6" fmla="*/ 1238250 w 2646293"/>
              <a:gd name="connsiteY6" fmla="*/ 1800225 h 4914900"/>
              <a:gd name="connsiteX7" fmla="*/ 2638425 w 2646293"/>
              <a:gd name="connsiteY7" fmla="*/ 3276600 h 4914900"/>
              <a:gd name="connsiteX8" fmla="*/ 1685925 w 2646293"/>
              <a:gd name="connsiteY8" fmla="*/ 4305300 h 4914900"/>
              <a:gd name="connsiteX9" fmla="*/ 1685925 w 2646293"/>
              <a:gd name="connsiteY9" fmla="*/ 4914900 h 4914900"/>
              <a:gd name="connsiteX10" fmla="*/ 1038225 w 2646293"/>
              <a:gd name="connsiteY10" fmla="*/ 4914900 h 4914900"/>
              <a:gd name="connsiteX11" fmla="*/ 1038225 w 2646293"/>
              <a:gd name="connsiteY11" fmla="*/ 4381500 h 4914900"/>
              <a:gd name="connsiteX12" fmla="*/ 19050 w 2646293"/>
              <a:gd name="connsiteY12" fmla="*/ 4152900 h 4914900"/>
              <a:gd name="connsiteX13" fmla="*/ 19050 w 2646293"/>
              <a:gd name="connsiteY13" fmla="*/ 3133725 h 4914900"/>
              <a:gd name="connsiteX14" fmla="*/ 1181100 w 2646293"/>
              <a:gd name="connsiteY14" fmla="*/ 3533775 h 4914900"/>
              <a:gd name="connsiteX15" fmla="*/ 1333500 w 2646293"/>
              <a:gd name="connsiteY15" fmla="*/ 3086100 h 4914900"/>
              <a:gd name="connsiteX16" fmla="*/ 0 w 2646293"/>
              <a:gd name="connsiteY16" fmla="*/ 1447800 h 4914900"/>
              <a:gd name="connsiteX17" fmla="*/ 1038225 w 2646293"/>
              <a:gd name="connsiteY17" fmla="*/ 561975 h 4914900"/>
              <a:gd name="connsiteX18" fmla="*/ 1028700 w 2646293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28700 w 2646344"/>
              <a:gd name="connsiteY0" fmla="*/ 0 h 4914900"/>
              <a:gd name="connsiteX1" fmla="*/ 1676400 w 2646344"/>
              <a:gd name="connsiteY1" fmla="*/ 0 h 4914900"/>
              <a:gd name="connsiteX2" fmla="*/ 1676400 w 2646344"/>
              <a:gd name="connsiteY2" fmla="*/ 523875 h 4914900"/>
              <a:gd name="connsiteX3" fmla="*/ 2466975 w 2646344"/>
              <a:gd name="connsiteY3" fmla="*/ 647700 h 4914900"/>
              <a:gd name="connsiteX4" fmla="*/ 2466975 w 2646344"/>
              <a:gd name="connsiteY4" fmla="*/ 1628775 h 4914900"/>
              <a:gd name="connsiteX5" fmla="*/ 1276350 w 2646344"/>
              <a:gd name="connsiteY5" fmla="*/ 1400175 h 4914900"/>
              <a:gd name="connsiteX6" fmla="*/ 1238250 w 2646344"/>
              <a:gd name="connsiteY6" fmla="*/ 1800225 h 4914900"/>
              <a:gd name="connsiteX7" fmla="*/ 2638425 w 2646344"/>
              <a:gd name="connsiteY7" fmla="*/ 3276600 h 4914900"/>
              <a:gd name="connsiteX8" fmla="*/ 1685925 w 2646344"/>
              <a:gd name="connsiteY8" fmla="*/ 4305300 h 4914900"/>
              <a:gd name="connsiteX9" fmla="*/ 1685925 w 2646344"/>
              <a:gd name="connsiteY9" fmla="*/ 4914900 h 4914900"/>
              <a:gd name="connsiteX10" fmla="*/ 1038225 w 2646344"/>
              <a:gd name="connsiteY10" fmla="*/ 4914900 h 4914900"/>
              <a:gd name="connsiteX11" fmla="*/ 1038225 w 2646344"/>
              <a:gd name="connsiteY11" fmla="*/ 4381500 h 4914900"/>
              <a:gd name="connsiteX12" fmla="*/ 19050 w 2646344"/>
              <a:gd name="connsiteY12" fmla="*/ 4152900 h 4914900"/>
              <a:gd name="connsiteX13" fmla="*/ 19050 w 2646344"/>
              <a:gd name="connsiteY13" fmla="*/ 3133725 h 4914900"/>
              <a:gd name="connsiteX14" fmla="*/ 1181100 w 2646344"/>
              <a:gd name="connsiteY14" fmla="*/ 3533775 h 4914900"/>
              <a:gd name="connsiteX15" fmla="*/ 1333500 w 2646344"/>
              <a:gd name="connsiteY15" fmla="*/ 3086100 h 4914900"/>
              <a:gd name="connsiteX16" fmla="*/ 0 w 2646344"/>
              <a:gd name="connsiteY16" fmla="*/ 1447800 h 4914900"/>
              <a:gd name="connsiteX17" fmla="*/ 1038225 w 2646344"/>
              <a:gd name="connsiteY17" fmla="*/ 561975 h 4914900"/>
              <a:gd name="connsiteX18" fmla="*/ 1028700 w 2646344"/>
              <a:gd name="connsiteY18" fmla="*/ 0 h 4914900"/>
              <a:gd name="connsiteX0" fmla="*/ 1064796 w 2682440"/>
              <a:gd name="connsiteY0" fmla="*/ 0 h 4914900"/>
              <a:gd name="connsiteX1" fmla="*/ 1712496 w 2682440"/>
              <a:gd name="connsiteY1" fmla="*/ 0 h 4914900"/>
              <a:gd name="connsiteX2" fmla="*/ 1712496 w 2682440"/>
              <a:gd name="connsiteY2" fmla="*/ 523875 h 4914900"/>
              <a:gd name="connsiteX3" fmla="*/ 2503071 w 2682440"/>
              <a:gd name="connsiteY3" fmla="*/ 647700 h 4914900"/>
              <a:gd name="connsiteX4" fmla="*/ 2503071 w 2682440"/>
              <a:gd name="connsiteY4" fmla="*/ 1628775 h 4914900"/>
              <a:gd name="connsiteX5" fmla="*/ 1312446 w 2682440"/>
              <a:gd name="connsiteY5" fmla="*/ 1400175 h 4914900"/>
              <a:gd name="connsiteX6" fmla="*/ 1274346 w 2682440"/>
              <a:gd name="connsiteY6" fmla="*/ 1800225 h 4914900"/>
              <a:gd name="connsiteX7" fmla="*/ 2674521 w 2682440"/>
              <a:gd name="connsiteY7" fmla="*/ 3276600 h 4914900"/>
              <a:gd name="connsiteX8" fmla="*/ 1722021 w 2682440"/>
              <a:gd name="connsiteY8" fmla="*/ 4305300 h 4914900"/>
              <a:gd name="connsiteX9" fmla="*/ 1722021 w 2682440"/>
              <a:gd name="connsiteY9" fmla="*/ 4914900 h 4914900"/>
              <a:gd name="connsiteX10" fmla="*/ 1074321 w 2682440"/>
              <a:gd name="connsiteY10" fmla="*/ 4914900 h 4914900"/>
              <a:gd name="connsiteX11" fmla="*/ 1074321 w 2682440"/>
              <a:gd name="connsiteY11" fmla="*/ 4381500 h 4914900"/>
              <a:gd name="connsiteX12" fmla="*/ 55146 w 2682440"/>
              <a:gd name="connsiteY12" fmla="*/ 4152900 h 4914900"/>
              <a:gd name="connsiteX13" fmla="*/ 55146 w 2682440"/>
              <a:gd name="connsiteY13" fmla="*/ 3133725 h 4914900"/>
              <a:gd name="connsiteX14" fmla="*/ 1217196 w 2682440"/>
              <a:gd name="connsiteY14" fmla="*/ 3533775 h 4914900"/>
              <a:gd name="connsiteX15" fmla="*/ 1369596 w 2682440"/>
              <a:gd name="connsiteY15" fmla="*/ 3086100 h 4914900"/>
              <a:gd name="connsiteX16" fmla="*/ 36096 w 2682440"/>
              <a:gd name="connsiteY16" fmla="*/ 1447800 h 4914900"/>
              <a:gd name="connsiteX17" fmla="*/ 1074321 w 2682440"/>
              <a:gd name="connsiteY17" fmla="*/ 561975 h 4914900"/>
              <a:gd name="connsiteX18" fmla="*/ 1064796 w 2682440"/>
              <a:gd name="connsiteY18" fmla="*/ 0 h 4914900"/>
              <a:gd name="connsiteX0" fmla="*/ 1065400 w 2683044"/>
              <a:gd name="connsiteY0" fmla="*/ 0 h 4914900"/>
              <a:gd name="connsiteX1" fmla="*/ 1713100 w 2683044"/>
              <a:gd name="connsiteY1" fmla="*/ 0 h 4914900"/>
              <a:gd name="connsiteX2" fmla="*/ 1713100 w 2683044"/>
              <a:gd name="connsiteY2" fmla="*/ 523875 h 4914900"/>
              <a:gd name="connsiteX3" fmla="*/ 2503675 w 2683044"/>
              <a:gd name="connsiteY3" fmla="*/ 647700 h 4914900"/>
              <a:gd name="connsiteX4" fmla="*/ 2503675 w 2683044"/>
              <a:gd name="connsiteY4" fmla="*/ 1628775 h 4914900"/>
              <a:gd name="connsiteX5" fmla="*/ 1313050 w 2683044"/>
              <a:gd name="connsiteY5" fmla="*/ 1400175 h 4914900"/>
              <a:gd name="connsiteX6" fmla="*/ 1274950 w 2683044"/>
              <a:gd name="connsiteY6" fmla="*/ 1800225 h 4914900"/>
              <a:gd name="connsiteX7" fmla="*/ 2675125 w 2683044"/>
              <a:gd name="connsiteY7" fmla="*/ 3276600 h 4914900"/>
              <a:gd name="connsiteX8" fmla="*/ 1722625 w 2683044"/>
              <a:gd name="connsiteY8" fmla="*/ 4305300 h 4914900"/>
              <a:gd name="connsiteX9" fmla="*/ 1722625 w 2683044"/>
              <a:gd name="connsiteY9" fmla="*/ 4914900 h 4914900"/>
              <a:gd name="connsiteX10" fmla="*/ 1074925 w 2683044"/>
              <a:gd name="connsiteY10" fmla="*/ 4914900 h 4914900"/>
              <a:gd name="connsiteX11" fmla="*/ 1074925 w 2683044"/>
              <a:gd name="connsiteY11" fmla="*/ 4381500 h 4914900"/>
              <a:gd name="connsiteX12" fmla="*/ 55750 w 2683044"/>
              <a:gd name="connsiteY12" fmla="*/ 4152900 h 4914900"/>
              <a:gd name="connsiteX13" fmla="*/ 55750 w 2683044"/>
              <a:gd name="connsiteY13" fmla="*/ 3133725 h 4914900"/>
              <a:gd name="connsiteX14" fmla="*/ 1217800 w 2683044"/>
              <a:gd name="connsiteY14" fmla="*/ 3533775 h 4914900"/>
              <a:gd name="connsiteX15" fmla="*/ 1370200 w 2683044"/>
              <a:gd name="connsiteY15" fmla="*/ 3086100 h 4914900"/>
              <a:gd name="connsiteX16" fmla="*/ 36700 w 2683044"/>
              <a:gd name="connsiteY16" fmla="*/ 1447800 h 4914900"/>
              <a:gd name="connsiteX17" fmla="*/ 1074925 w 2683044"/>
              <a:gd name="connsiteY17" fmla="*/ 561975 h 4914900"/>
              <a:gd name="connsiteX18" fmla="*/ 1065400 w 2683044"/>
              <a:gd name="connsiteY18" fmla="*/ 0 h 4914900"/>
              <a:gd name="connsiteX0" fmla="*/ 1061280 w 2678924"/>
              <a:gd name="connsiteY0" fmla="*/ 0 h 4914900"/>
              <a:gd name="connsiteX1" fmla="*/ 1708980 w 2678924"/>
              <a:gd name="connsiteY1" fmla="*/ 0 h 4914900"/>
              <a:gd name="connsiteX2" fmla="*/ 1708980 w 2678924"/>
              <a:gd name="connsiteY2" fmla="*/ 523875 h 4914900"/>
              <a:gd name="connsiteX3" fmla="*/ 2499555 w 2678924"/>
              <a:gd name="connsiteY3" fmla="*/ 647700 h 4914900"/>
              <a:gd name="connsiteX4" fmla="*/ 2499555 w 2678924"/>
              <a:gd name="connsiteY4" fmla="*/ 1628775 h 4914900"/>
              <a:gd name="connsiteX5" fmla="*/ 1308930 w 2678924"/>
              <a:gd name="connsiteY5" fmla="*/ 1400175 h 4914900"/>
              <a:gd name="connsiteX6" fmla="*/ 1270830 w 2678924"/>
              <a:gd name="connsiteY6" fmla="*/ 1800225 h 4914900"/>
              <a:gd name="connsiteX7" fmla="*/ 2671005 w 2678924"/>
              <a:gd name="connsiteY7" fmla="*/ 3276600 h 4914900"/>
              <a:gd name="connsiteX8" fmla="*/ 1718505 w 2678924"/>
              <a:gd name="connsiteY8" fmla="*/ 4305300 h 4914900"/>
              <a:gd name="connsiteX9" fmla="*/ 1718505 w 2678924"/>
              <a:gd name="connsiteY9" fmla="*/ 4914900 h 4914900"/>
              <a:gd name="connsiteX10" fmla="*/ 1070805 w 2678924"/>
              <a:gd name="connsiteY10" fmla="*/ 4914900 h 4914900"/>
              <a:gd name="connsiteX11" fmla="*/ 1070805 w 2678924"/>
              <a:gd name="connsiteY11" fmla="*/ 4381500 h 4914900"/>
              <a:gd name="connsiteX12" fmla="*/ 51630 w 2678924"/>
              <a:gd name="connsiteY12" fmla="*/ 4152900 h 4914900"/>
              <a:gd name="connsiteX13" fmla="*/ 51630 w 2678924"/>
              <a:gd name="connsiteY13" fmla="*/ 3133725 h 4914900"/>
              <a:gd name="connsiteX14" fmla="*/ 1213680 w 2678924"/>
              <a:gd name="connsiteY14" fmla="*/ 3533775 h 4914900"/>
              <a:gd name="connsiteX15" fmla="*/ 1366080 w 2678924"/>
              <a:gd name="connsiteY15" fmla="*/ 3086100 h 4914900"/>
              <a:gd name="connsiteX16" fmla="*/ 32580 w 2678924"/>
              <a:gd name="connsiteY16" fmla="*/ 1447800 h 4914900"/>
              <a:gd name="connsiteX17" fmla="*/ 1070805 w 2678924"/>
              <a:gd name="connsiteY17" fmla="*/ 561975 h 4914900"/>
              <a:gd name="connsiteX18" fmla="*/ 1061280 w 2678924"/>
              <a:gd name="connsiteY18" fmla="*/ 0 h 4914900"/>
              <a:gd name="connsiteX0" fmla="*/ 1061749 w 2679393"/>
              <a:gd name="connsiteY0" fmla="*/ 0 h 4914900"/>
              <a:gd name="connsiteX1" fmla="*/ 1709449 w 2679393"/>
              <a:gd name="connsiteY1" fmla="*/ 0 h 4914900"/>
              <a:gd name="connsiteX2" fmla="*/ 1709449 w 2679393"/>
              <a:gd name="connsiteY2" fmla="*/ 523875 h 4914900"/>
              <a:gd name="connsiteX3" fmla="*/ 2500024 w 2679393"/>
              <a:gd name="connsiteY3" fmla="*/ 647700 h 4914900"/>
              <a:gd name="connsiteX4" fmla="*/ 2500024 w 2679393"/>
              <a:gd name="connsiteY4" fmla="*/ 1628775 h 4914900"/>
              <a:gd name="connsiteX5" fmla="*/ 1309399 w 2679393"/>
              <a:gd name="connsiteY5" fmla="*/ 1400175 h 4914900"/>
              <a:gd name="connsiteX6" fmla="*/ 1271299 w 2679393"/>
              <a:gd name="connsiteY6" fmla="*/ 1800225 h 4914900"/>
              <a:gd name="connsiteX7" fmla="*/ 2671474 w 2679393"/>
              <a:gd name="connsiteY7" fmla="*/ 3276600 h 4914900"/>
              <a:gd name="connsiteX8" fmla="*/ 1718974 w 2679393"/>
              <a:gd name="connsiteY8" fmla="*/ 4305300 h 4914900"/>
              <a:gd name="connsiteX9" fmla="*/ 1718974 w 2679393"/>
              <a:gd name="connsiteY9" fmla="*/ 4914900 h 4914900"/>
              <a:gd name="connsiteX10" fmla="*/ 1071274 w 2679393"/>
              <a:gd name="connsiteY10" fmla="*/ 4914900 h 4914900"/>
              <a:gd name="connsiteX11" fmla="*/ 1071274 w 2679393"/>
              <a:gd name="connsiteY11" fmla="*/ 4381500 h 4914900"/>
              <a:gd name="connsiteX12" fmla="*/ 52099 w 2679393"/>
              <a:gd name="connsiteY12" fmla="*/ 4152900 h 4914900"/>
              <a:gd name="connsiteX13" fmla="*/ 52099 w 2679393"/>
              <a:gd name="connsiteY13" fmla="*/ 3133725 h 4914900"/>
              <a:gd name="connsiteX14" fmla="*/ 1214149 w 2679393"/>
              <a:gd name="connsiteY14" fmla="*/ 3533775 h 4914900"/>
              <a:gd name="connsiteX15" fmla="*/ 1366549 w 2679393"/>
              <a:gd name="connsiteY15" fmla="*/ 3086100 h 4914900"/>
              <a:gd name="connsiteX16" fmla="*/ 33049 w 2679393"/>
              <a:gd name="connsiteY16" fmla="*/ 1447800 h 4914900"/>
              <a:gd name="connsiteX17" fmla="*/ 1071274 w 2679393"/>
              <a:gd name="connsiteY17" fmla="*/ 561975 h 4914900"/>
              <a:gd name="connsiteX18" fmla="*/ 1061749 w 2679393"/>
              <a:gd name="connsiteY18" fmla="*/ 0 h 4914900"/>
              <a:gd name="connsiteX0" fmla="*/ 1061749 w 2679393"/>
              <a:gd name="connsiteY0" fmla="*/ 0 h 4914900"/>
              <a:gd name="connsiteX1" fmla="*/ 1709449 w 2679393"/>
              <a:gd name="connsiteY1" fmla="*/ 0 h 4914900"/>
              <a:gd name="connsiteX2" fmla="*/ 1709449 w 2679393"/>
              <a:gd name="connsiteY2" fmla="*/ 523875 h 4914900"/>
              <a:gd name="connsiteX3" fmla="*/ 2500024 w 2679393"/>
              <a:gd name="connsiteY3" fmla="*/ 647700 h 4914900"/>
              <a:gd name="connsiteX4" fmla="*/ 2500024 w 2679393"/>
              <a:gd name="connsiteY4" fmla="*/ 1628775 h 4914900"/>
              <a:gd name="connsiteX5" fmla="*/ 1309399 w 2679393"/>
              <a:gd name="connsiteY5" fmla="*/ 1400175 h 4914900"/>
              <a:gd name="connsiteX6" fmla="*/ 1271299 w 2679393"/>
              <a:gd name="connsiteY6" fmla="*/ 1800225 h 4914900"/>
              <a:gd name="connsiteX7" fmla="*/ 2671474 w 2679393"/>
              <a:gd name="connsiteY7" fmla="*/ 3276600 h 4914900"/>
              <a:gd name="connsiteX8" fmla="*/ 1718974 w 2679393"/>
              <a:gd name="connsiteY8" fmla="*/ 4305300 h 4914900"/>
              <a:gd name="connsiteX9" fmla="*/ 1718974 w 2679393"/>
              <a:gd name="connsiteY9" fmla="*/ 4914900 h 4914900"/>
              <a:gd name="connsiteX10" fmla="*/ 1071274 w 2679393"/>
              <a:gd name="connsiteY10" fmla="*/ 4914900 h 4914900"/>
              <a:gd name="connsiteX11" fmla="*/ 1071274 w 2679393"/>
              <a:gd name="connsiteY11" fmla="*/ 4381500 h 4914900"/>
              <a:gd name="connsiteX12" fmla="*/ 52099 w 2679393"/>
              <a:gd name="connsiteY12" fmla="*/ 4152900 h 4914900"/>
              <a:gd name="connsiteX13" fmla="*/ 52099 w 2679393"/>
              <a:gd name="connsiteY13" fmla="*/ 3133725 h 4914900"/>
              <a:gd name="connsiteX14" fmla="*/ 1214149 w 2679393"/>
              <a:gd name="connsiteY14" fmla="*/ 3533775 h 4914900"/>
              <a:gd name="connsiteX15" fmla="*/ 1366549 w 2679393"/>
              <a:gd name="connsiteY15" fmla="*/ 3086100 h 4914900"/>
              <a:gd name="connsiteX16" fmla="*/ 33049 w 2679393"/>
              <a:gd name="connsiteY16" fmla="*/ 1447800 h 4914900"/>
              <a:gd name="connsiteX17" fmla="*/ 1071274 w 2679393"/>
              <a:gd name="connsiteY17" fmla="*/ 561975 h 4914900"/>
              <a:gd name="connsiteX18" fmla="*/ 1061749 w 2679393"/>
              <a:gd name="connsiteY18" fmla="*/ 0 h 4914900"/>
              <a:gd name="connsiteX0" fmla="*/ 1058739 w 2676383"/>
              <a:gd name="connsiteY0" fmla="*/ 0 h 4914900"/>
              <a:gd name="connsiteX1" fmla="*/ 1706439 w 2676383"/>
              <a:gd name="connsiteY1" fmla="*/ 0 h 4914900"/>
              <a:gd name="connsiteX2" fmla="*/ 1706439 w 2676383"/>
              <a:gd name="connsiteY2" fmla="*/ 523875 h 4914900"/>
              <a:gd name="connsiteX3" fmla="*/ 2497014 w 2676383"/>
              <a:gd name="connsiteY3" fmla="*/ 647700 h 4914900"/>
              <a:gd name="connsiteX4" fmla="*/ 2497014 w 2676383"/>
              <a:gd name="connsiteY4" fmla="*/ 1628775 h 4914900"/>
              <a:gd name="connsiteX5" fmla="*/ 1306389 w 2676383"/>
              <a:gd name="connsiteY5" fmla="*/ 1400175 h 4914900"/>
              <a:gd name="connsiteX6" fmla="*/ 1268289 w 2676383"/>
              <a:gd name="connsiteY6" fmla="*/ 1800225 h 4914900"/>
              <a:gd name="connsiteX7" fmla="*/ 2668464 w 2676383"/>
              <a:gd name="connsiteY7" fmla="*/ 3276600 h 4914900"/>
              <a:gd name="connsiteX8" fmla="*/ 1715964 w 2676383"/>
              <a:gd name="connsiteY8" fmla="*/ 4305300 h 4914900"/>
              <a:gd name="connsiteX9" fmla="*/ 1715964 w 2676383"/>
              <a:gd name="connsiteY9" fmla="*/ 4914900 h 4914900"/>
              <a:gd name="connsiteX10" fmla="*/ 1068264 w 2676383"/>
              <a:gd name="connsiteY10" fmla="*/ 4914900 h 4914900"/>
              <a:gd name="connsiteX11" fmla="*/ 1068264 w 2676383"/>
              <a:gd name="connsiteY11" fmla="*/ 4381500 h 4914900"/>
              <a:gd name="connsiteX12" fmla="*/ 49089 w 2676383"/>
              <a:gd name="connsiteY12" fmla="*/ 4152900 h 4914900"/>
              <a:gd name="connsiteX13" fmla="*/ 49089 w 2676383"/>
              <a:gd name="connsiteY13" fmla="*/ 3133725 h 4914900"/>
              <a:gd name="connsiteX14" fmla="*/ 1211139 w 2676383"/>
              <a:gd name="connsiteY14" fmla="*/ 3533775 h 4914900"/>
              <a:gd name="connsiteX15" fmla="*/ 1363539 w 2676383"/>
              <a:gd name="connsiteY15" fmla="*/ 3086100 h 4914900"/>
              <a:gd name="connsiteX16" fmla="*/ 30039 w 2676383"/>
              <a:gd name="connsiteY16" fmla="*/ 1447800 h 4914900"/>
              <a:gd name="connsiteX17" fmla="*/ 1068264 w 2676383"/>
              <a:gd name="connsiteY17" fmla="*/ 561975 h 4914900"/>
              <a:gd name="connsiteX18" fmla="*/ 1058739 w 2676383"/>
              <a:gd name="connsiteY18" fmla="*/ 0 h 4914900"/>
              <a:gd name="connsiteX0" fmla="*/ 1058739 w 2676383"/>
              <a:gd name="connsiteY0" fmla="*/ 0 h 4914900"/>
              <a:gd name="connsiteX1" fmla="*/ 1706439 w 2676383"/>
              <a:gd name="connsiteY1" fmla="*/ 0 h 4914900"/>
              <a:gd name="connsiteX2" fmla="*/ 1706439 w 2676383"/>
              <a:gd name="connsiteY2" fmla="*/ 523875 h 4914900"/>
              <a:gd name="connsiteX3" fmla="*/ 2497014 w 2676383"/>
              <a:gd name="connsiteY3" fmla="*/ 647700 h 4914900"/>
              <a:gd name="connsiteX4" fmla="*/ 2497014 w 2676383"/>
              <a:gd name="connsiteY4" fmla="*/ 1628775 h 4914900"/>
              <a:gd name="connsiteX5" fmla="*/ 1306389 w 2676383"/>
              <a:gd name="connsiteY5" fmla="*/ 1400175 h 4914900"/>
              <a:gd name="connsiteX6" fmla="*/ 1268289 w 2676383"/>
              <a:gd name="connsiteY6" fmla="*/ 1800225 h 4914900"/>
              <a:gd name="connsiteX7" fmla="*/ 2668464 w 2676383"/>
              <a:gd name="connsiteY7" fmla="*/ 3276600 h 4914900"/>
              <a:gd name="connsiteX8" fmla="*/ 1715964 w 2676383"/>
              <a:gd name="connsiteY8" fmla="*/ 4305300 h 4914900"/>
              <a:gd name="connsiteX9" fmla="*/ 1715964 w 2676383"/>
              <a:gd name="connsiteY9" fmla="*/ 4914900 h 4914900"/>
              <a:gd name="connsiteX10" fmla="*/ 1068264 w 2676383"/>
              <a:gd name="connsiteY10" fmla="*/ 4914900 h 4914900"/>
              <a:gd name="connsiteX11" fmla="*/ 1068264 w 2676383"/>
              <a:gd name="connsiteY11" fmla="*/ 4381500 h 4914900"/>
              <a:gd name="connsiteX12" fmla="*/ 49089 w 2676383"/>
              <a:gd name="connsiteY12" fmla="*/ 4152900 h 4914900"/>
              <a:gd name="connsiteX13" fmla="*/ 49089 w 2676383"/>
              <a:gd name="connsiteY13" fmla="*/ 3133725 h 4914900"/>
              <a:gd name="connsiteX14" fmla="*/ 1211139 w 2676383"/>
              <a:gd name="connsiteY14" fmla="*/ 3533775 h 4914900"/>
              <a:gd name="connsiteX15" fmla="*/ 1363539 w 2676383"/>
              <a:gd name="connsiteY15" fmla="*/ 3086100 h 4914900"/>
              <a:gd name="connsiteX16" fmla="*/ 30039 w 2676383"/>
              <a:gd name="connsiteY16" fmla="*/ 1447800 h 4914900"/>
              <a:gd name="connsiteX17" fmla="*/ 1068264 w 2676383"/>
              <a:gd name="connsiteY17" fmla="*/ 561975 h 4914900"/>
              <a:gd name="connsiteX18" fmla="*/ 1058739 w 2676383"/>
              <a:gd name="connsiteY18" fmla="*/ 0 h 4914900"/>
              <a:gd name="connsiteX0" fmla="*/ 1058739 w 2676383"/>
              <a:gd name="connsiteY0" fmla="*/ 0 h 4914900"/>
              <a:gd name="connsiteX1" fmla="*/ 1706439 w 2676383"/>
              <a:gd name="connsiteY1" fmla="*/ 0 h 4914900"/>
              <a:gd name="connsiteX2" fmla="*/ 1706439 w 2676383"/>
              <a:gd name="connsiteY2" fmla="*/ 523875 h 4914900"/>
              <a:gd name="connsiteX3" fmla="*/ 2497014 w 2676383"/>
              <a:gd name="connsiteY3" fmla="*/ 647700 h 4914900"/>
              <a:gd name="connsiteX4" fmla="*/ 2497014 w 2676383"/>
              <a:gd name="connsiteY4" fmla="*/ 1628775 h 4914900"/>
              <a:gd name="connsiteX5" fmla="*/ 1306389 w 2676383"/>
              <a:gd name="connsiteY5" fmla="*/ 1400175 h 4914900"/>
              <a:gd name="connsiteX6" fmla="*/ 1268289 w 2676383"/>
              <a:gd name="connsiteY6" fmla="*/ 1800225 h 4914900"/>
              <a:gd name="connsiteX7" fmla="*/ 2668464 w 2676383"/>
              <a:gd name="connsiteY7" fmla="*/ 3276600 h 4914900"/>
              <a:gd name="connsiteX8" fmla="*/ 1715964 w 2676383"/>
              <a:gd name="connsiteY8" fmla="*/ 4305300 h 4914900"/>
              <a:gd name="connsiteX9" fmla="*/ 1715964 w 2676383"/>
              <a:gd name="connsiteY9" fmla="*/ 4914900 h 4914900"/>
              <a:gd name="connsiteX10" fmla="*/ 1068264 w 2676383"/>
              <a:gd name="connsiteY10" fmla="*/ 4914900 h 4914900"/>
              <a:gd name="connsiteX11" fmla="*/ 1068264 w 2676383"/>
              <a:gd name="connsiteY11" fmla="*/ 4381500 h 4914900"/>
              <a:gd name="connsiteX12" fmla="*/ 49089 w 2676383"/>
              <a:gd name="connsiteY12" fmla="*/ 4152900 h 4914900"/>
              <a:gd name="connsiteX13" fmla="*/ 49089 w 2676383"/>
              <a:gd name="connsiteY13" fmla="*/ 3133725 h 4914900"/>
              <a:gd name="connsiteX14" fmla="*/ 1211139 w 2676383"/>
              <a:gd name="connsiteY14" fmla="*/ 3533775 h 4914900"/>
              <a:gd name="connsiteX15" fmla="*/ 1363539 w 2676383"/>
              <a:gd name="connsiteY15" fmla="*/ 3086100 h 4914900"/>
              <a:gd name="connsiteX16" fmla="*/ 30039 w 2676383"/>
              <a:gd name="connsiteY16" fmla="*/ 1447800 h 4914900"/>
              <a:gd name="connsiteX17" fmla="*/ 1068264 w 2676383"/>
              <a:gd name="connsiteY17" fmla="*/ 561975 h 4914900"/>
              <a:gd name="connsiteX18" fmla="*/ 1058739 w 2676383"/>
              <a:gd name="connsiteY18" fmla="*/ 0 h 491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676383" h="4914900">
                <a:moveTo>
                  <a:pt x="1058739" y="0"/>
                </a:moveTo>
                <a:lnTo>
                  <a:pt x="1706439" y="0"/>
                </a:lnTo>
                <a:lnTo>
                  <a:pt x="1706439" y="523875"/>
                </a:lnTo>
                <a:cubicBezTo>
                  <a:pt x="2008064" y="531813"/>
                  <a:pt x="2233489" y="573087"/>
                  <a:pt x="2497014" y="647700"/>
                </a:cubicBezTo>
                <a:lnTo>
                  <a:pt x="2497014" y="1628775"/>
                </a:lnTo>
                <a:cubicBezTo>
                  <a:pt x="2047752" y="1390650"/>
                  <a:pt x="1488951" y="1281112"/>
                  <a:pt x="1306389" y="1400175"/>
                </a:cubicBezTo>
                <a:cubicBezTo>
                  <a:pt x="1127001" y="1471613"/>
                  <a:pt x="1142876" y="1714500"/>
                  <a:pt x="1268289" y="1800225"/>
                </a:cubicBezTo>
                <a:cubicBezTo>
                  <a:pt x="1425452" y="2020888"/>
                  <a:pt x="2792289" y="2236787"/>
                  <a:pt x="2668464" y="3276600"/>
                </a:cubicBezTo>
                <a:cubicBezTo>
                  <a:pt x="2608139" y="4000500"/>
                  <a:pt x="1966789" y="4233862"/>
                  <a:pt x="1715964" y="4305300"/>
                </a:cubicBezTo>
                <a:lnTo>
                  <a:pt x="1715964" y="4914900"/>
                </a:lnTo>
                <a:lnTo>
                  <a:pt x="1068264" y="4914900"/>
                </a:lnTo>
                <a:lnTo>
                  <a:pt x="1068264" y="4381500"/>
                </a:lnTo>
                <a:cubicBezTo>
                  <a:pt x="685676" y="4371975"/>
                  <a:pt x="222127" y="4267200"/>
                  <a:pt x="49089" y="4152900"/>
                </a:cubicBezTo>
                <a:lnTo>
                  <a:pt x="49089" y="3133725"/>
                </a:lnTo>
                <a:cubicBezTo>
                  <a:pt x="403102" y="3438525"/>
                  <a:pt x="923802" y="3562350"/>
                  <a:pt x="1211139" y="3533775"/>
                </a:cubicBezTo>
                <a:cubicBezTo>
                  <a:pt x="1490539" y="3503613"/>
                  <a:pt x="1498476" y="3201988"/>
                  <a:pt x="1363539" y="3086100"/>
                </a:cubicBezTo>
                <a:cubicBezTo>
                  <a:pt x="1176215" y="2820987"/>
                  <a:pt x="-220786" y="2727324"/>
                  <a:pt x="30039" y="1447800"/>
                </a:cubicBezTo>
                <a:cubicBezTo>
                  <a:pt x="142751" y="795338"/>
                  <a:pt x="798389" y="585787"/>
                  <a:pt x="1068264" y="561975"/>
                </a:cubicBezTo>
                <a:lnTo>
                  <a:pt x="1058739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484172" y="5226849"/>
            <a:ext cx="426522" cy="289484"/>
            <a:chOff x="3317132" y="1034924"/>
            <a:chExt cx="4270443" cy="2898389"/>
          </a:xfrm>
          <a:solidFill>
            <a:schemeClr val="bg1">
              <a:lumMod val="50000"/>
            </a:schemeClr>
          </a:solidFill>
        </p:grpSpPr>
        <p:sp>
          <p:nvSpPr>
            <p:cNvPr id="117" name="Rectangle: Rounded Corners 116"/>
            <p:cNvSpPr/>
            <p:nvPr/>
          </p:nvSpPr>
          <p:spPr>
            <a:xfrm>
              <a:off x="3638145" y="2795177"/>
              <a:ext cx="1031132" cy="1031132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18" name="Rectangle: Rounded Corners 117"/>
            <p:cNvSpPr/>
            <p:nvPr/>
          </p:nvSpPr>
          <p:spPr>
            <a:xfrm>
              <a:off x="3638145" y="1488332"/>
              <a:ext cx="1031132" cy="1031132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19" name="Rectangle: Rounded Corners 118"/>
            <p:cNvSpPr/>
            <p:nvPr/>
          </p:nvSpPr>
          <p:spPr>
            <a:xfrm rot="2700000">
              <a:off x="6556443" y="1034924"/>
              <a:ext cx="1031132" cy="1031132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0" name="Rectangle: Rounded Corners 119"/>
            <p:cNvSpPr/>
            <p:nvPr/>
          </p:nvSpPr>
          <p:spPr>
            <a:xfrm>
              <a:off x="3317132" y="2519464"/>
              <a:ext cx="3842425" cy="107004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1" name="Rectangle: Rounded Corners 120"/>
            <p:cNvSpPr/>
            <p:nvPr/>
          </p:nvSpPr>
          <p:spPr>
            <a:xfrm>
              <a:off x="3317132" y="3826309"/>
              <a:ext cx="3842425" cy="107004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2" name="Rectangle: Rounded Corners 121"/>
            <p:cNvSpPr/>
            <p:nvPr/>
          </p:nvSpPr>
          <p:spPr>
            <a:xfrm>
              <a:off x="4786009" y="2795177"/>
              <a:ext cx="1031132" cy="1031132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3" name="Rectangle: Rounded Corners 122"/>
            <p:cNvSpPr/>
            <p:nvPr/>
          </p:nvSpPr>
          <p:spPr>
            <a:xfrm>
              <a:off x="5933872" y="2795177"/>
              <a:ext cx="1031132" cy="1031132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4" name="Rectangle: Rounded Corners 123"/>
            <p:cNvSpPr/>
            <p:nvPr/>
          </p:nvSpPr>
          <p:spPr>
            <a:xfrm>
              <a:off x="4786009" y="1488332"/>
              <a:ext cx="1031132" cy="1031132"/>
            </a:xfrm>
            <a:prstGeom prst="roundRect">
              <a:avLst>
                <a:gd name="adj" fmla="val 3459"/>
              </a:avLst>
            </a:pr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5" name="Freeform: Shape 124"/>
            <p:cNvSpPr/>
            <p:nvPr/>
          </p:nvSpPr>
          <p:spPr>
            <a:xfrm>
              <a:off x="6094413" y="1938430"/>
              <a:ext cx="379572" cy="377947"/>
            </a:xfrm>
            <a:custGeom>
              <a:avLst/>
              <a:gdLst>
                <a:gd name="connsiteX0" fmla="*/ 35667 w 1031132"/>
                <a:gd name="connsiteY0" fmla="*/ 0 h 1031132"/>
                <a:gd name="connsiteX1" fmla="*/ 155642 w 1031132"/>
                <a:gd name="connsiteY1" fmla="*/ 0 h 1031132"/>
                <a:gd name="connsiteX2" fmla="*/ 155642 w 1031132"/>
                <a:gd name="connsiteY2" fmla="*/ 824159 h 1031132"/>
                <a:gd name="connsiteX3" fmla="*/ 191309 w 1031132"/>
                <a:gd name="connsiteY3" fmla="*/ 859826 h 1031132"/>
                <a:gd name="connsiteX4" fmla="*/ 1031132 w 1031132"/>
                <a:gd name="connsiteY4" fmla="*/ 859826 h 1031132"/>
                <a:gd name="connsiteX5" fmla="*/ 1031132 w 1031132"/>
                <a:gd name="connsiteY5" fmla="*/ 995465 h 1031132"/>
                <a:gd name="connsiteX6" fmla="*/ 995465 w 1031132"/>
                <a:gd name="connsiteY6" fmla="*/ 1031132 h 1031132"/>
                <a:gd name="connsiteX7" fmla="*/ 35667 w 1031132"/>
                <a:gd name="connsiteY7" fmla="*/ 1031132 h 1031132"/>
                <a:gd name="connsiteX8" fmla="*/ 0 w 1031132"/>
                <a:gd name="connsiteY8" fmla="*/ 995465 h 1031132"/>
                <a:gd name="connsiteX9" fmla="*/ 0 w 1031132"/>
                <a:gd name="connsiteY9" fmla="*/ 35667 h 1031132"/>
                <a:gd name="connsiteX10" fmla="*/ 35667 w 1031132"/>
                <a:gd name="connsiteY10" fmla="*/ 0 h 1031132"/>
                <a:gd name="connsiteX0" fmla="*/ 35667 w 1031132"/>
                <a:gd name="connsiteY0" fmla="*/ 0 h 1031132"/>
                <a:gd name="connsiteX1" fmla="*/ 155642 w 1031132"/>
                <a:gd name="connsiteY1" fmla="*/ 0 h 1031132"/>
                <a:gd name="connsiteX2" fmla="*/ 147535 w 1031132"/>
                <a:gd name="connsiteY2" fmla="*/ 49873 h 1031132"/>
                <a:gd name="connsiteX3" fmla="*/ 155642 w 1031132"/>
                <a:gd name="connsiteY3" fmla="*/ 824159 h 1031132"/>
                <a:gd name="connsiteX4" fmla="*/ 191309 w 1031132"/>
                <a:gd name="connsiteY4" fmla="*/ 859826 h 1031132"/>
                <a:gd name="connsiteX5" fmla="*/ 1031132 w 1031132"/>
                <a:gd name="connsiteY5" fmla="*/ 859826 h 1031132"/>
                <a:gd name="connsiteX6" fmla="*/ 1031132 w 1031132"/>
                <a:gd name="connsiteY6" fmla="*/ 995465 h 1031132"/>
                <a:gd name="connsiteX7" fmla="*/ 995465 w 1031132"/>
                <a:gd name="connsiteY7" fmla="*/ 1031132 h 1031132"/>
                <a:gd name="connsiteX8" fmla="*/ 35667 w 1031132"/>
                <a:gd name="connsiteY8" fmla="*/ 1031132 h 1031132"/>
                <a:gd name="connsiteX9" fmla="*/ 0 w 1031132"/>
                <a:gd name="connsiteY9" fmla="*/ 995465 h 1031132"/>
                <a:gd name="connsiteX10" fmla="*/ 0 w 1031132"/>
                <a:gd name="connsiteY10" fmla="*/ 35667 h 1031132"/>
                <a:gd name="connsiteX11" fmla="*/ 35667 w 1031132"/>
                <a:gd name="connsiteY11" fmla="*/ 0 h 1031132"/>
                <a:gd name="connsiteX0" fmla="*/ 35667 w 1031132"/>
                <a:gd name="connsiteY0" fmla="*/ 0 h 1031132"/>
                <a:gd name="connsiteX1" fmla="*/ 155642 w 1031132"/>
                <a:gd name="connsiteY1" fmla="*/ 0 h 1031132"/>
                <a:gd name="connsiteX2" fmla="*/ 147535 w 1031132"/>
                <a:gd name="connsiteY2" fmla="*/ 49873 h 1031132"/>
                <a:gd name="connsiteX3" fmla="*/ 155642 w 1031132"/>
                <a:gd name="connsiteY3" fmla="*/ 824159 h 1031132"/>
                <a:gd name="connsiteX4" fmla="*/ 191309 w 1031132"/>
                <a:gd name="connsiteY4" fmla="*/ 859826 h 1031132"/>
                <a:gd name="connsiteX5" fmla="*/ 967652 w 1031132"/>
                <a:gd name="connsiteY5" fmla="*/ 856974 h 1031132"/>
                <a:gd name="connsiteX6" fmla="*/ 1031132 w 1031132"/>
                <a:gd name="connsiteY6" fmla="*/ 859826 h 1031132"/>
                <a:gd name="connsiteX7" fmla="*/ 1031132 w 1031132"/>
                <a:gd name="connsiteY7" fmla="*/ 995465 h 1031132"/>
                <a:gd name="connsiteX8" fmla="*/ 995465 w 1031132"/>
                <a:gd name="connsiteY8" fmla="*/ 1031132 h 1031132"/>
                <a:gd name="connsiteX9" fmla="*/ 35667 w 1031132"/>
                <a:gd name="connsiteY9" fmla="*/ 1031132 h 1031132"/>
                <a:gd name="connsiteX10" fmla="*/ 0 w 1031132"/>
                <a:gd name="connsiteY10" fmla="*/ 995465 h 1031132"/>
                <a:gd name="connsiteX11" fmla="*/ 0 w 1031132"/>
                <a:gd name="connsiteY11" fmla="*/ 35667 h 1031132"/>
                <a:gd name="connsiteX12" fmla="*/ 35667 w 1031132"/>
                <a:gd name="connsiteY12" fmla="*/ 0 h 1031132"/>
                <a:gd name="connsiteX0" fmla="*/ 35667 w 1031132"/>
                <a:gd name="connsiteY0" fmla="*/ 0 h 1031132"/>
                <a:gd name="connsiteX1" fmla="*/ 155642 w 1031132"/>
                <a:gd name="connsiteY1" fmla="*/ 0 h 1031132"/>
                <a:gd name="connsiteX2" fmla="*/ 147535 w 1031132"/>
                <a:gd name="connsiteY2" fmla="*/ 49873 h 1031132"/>
                <a:gd name="connsiteX3" fmla="*/ 155642 w 1031132"/>
                <a:gd name="connsiteY3" fmla="*/ 824159 h 1031132"/>
                <a:gd name="connsiteX4" fmla="*/ 191309 w 1031132"/>
                <a:gd name="connsiteY4" fmla="*/ 859826 h 1031132"/>
                <a:gd name="connsiteX5" fmla="*/ 967652 w 1031132"/>
                <a:gd name="connsiteY5" fmla="*/ 856974 h 1031132"/>
                <a:gd name="connsiteX6" fmla="*/ 1031132 w 1031132"/>
                <a:gd name="connsiteY6" fmla="*/ 995465 h 1031132"/>
                <a:gd name="connsiteX7" fmla="*/ 995465 w 1031132"/>
                <a:gd name="connsiteY7" fmla="*/ 1031132 h 1031132"/>
                <a:gd name="connsiteX8" fmla="*/ 35667 w 1031132"/>
                <a:gd name="connsiteY8" fmla="*/ 1031132 h 1031132"/>
                <a:gd name="connsiteX9" fmla="*/ 0 w 1031132"/>
                <a:gd name="connsiteY9" fmla="*/ 995465 h 1031132"/>
                <a:gd name="connsiteX10" fmla="*/ 0 w 1031132"/>
                <a:gd name="connsiteY10" fmla="*/ 35667 h 1031132"/>
                <a:gd name="connsiteX11" fmla="*/ 35667 w 1031132"/>
                <a:gd name="connsiteY11" fmla="*/ 0 h 1031132"/>
                <a:gd name="connsiteX0" fmla="*/ 35667 w 1031132"/>
                <a:gd name="connsiteY0" fmla="*/ 0 h 1031132"/>
                <a:gd name="connsiteX1" fmla="*/ 147535 w 1031132"/>
                <a:gd name="connsiteY1" fmla="*/ 49873 h 1031132"/>
                <a:gd name="connsiteX2" fmla="*/ 155642 w 1031132"/>
                <a:gd name="connsiteY2" fmla="*/ 824159 h 1031132"/>
                <a:gd name="connsiteX3" fmla="*/ 191309 w 1031132"/>
                <a:gd name="connsiteY3" fmla="*/ 859826 h 1031132"/>
                <a:gd name="connsiteX4" fmla="*/ 967652 w 1031132"/>
                <a:gd name="connsiteY4" fmla="*/ 856974 h 1031132"/>
                <a:gd name="connsiteX5" fmla="*/ 1031132 w 1031132"/>
                <a:gd name="connsiteY5" fmla="*/ 995465 h 1031132"/>
                <a:gd name="connsiteX6" fmla="*/ 995465 w 1031132"/>
                <a:gd name="connsiteY6" fmla="*/ 1031132 h 1031132"/>
                <a:gd name="connsiteX7" fmla="*/ 35667 w 1031132"/>
                <a:gd name="connsiteY7" fmla="*/ 1031132 h 1031132"/>
                <a:gd name="connsiteX8" fmla="*/ 0 w 1031132"/>
                <a:gd name="connsiteY8" fmla="*/ 995465 h 1031132"/>
                <a:gd name="connsiteX9" fmla="*/ 0 w 1031132"/>
                <a:gd name="connsiteY9" fmla="*/ 35667 h 1031132"/>
                <a:gd name="connsiteX10" fmla="*/ 35667 w 1031132"/>
                <a:gd name="connsiteY10" fmla="*/ 0 h 1031132"/>
                <a:gd name="connsiteX0" fmla="*/ 35667 w 1031132"/>
                <a:gd name="connsiteY0" fmla="*/ 0 h 1031132"/>
                <a:gd name="connsiteX1" fmla="*/ 160554 w 1031132"/>
                <a:gd name="connsiteY1" fmla="*/ 49873 h 1031132"/>
                <a:gd name="connsiteX2" fmla="*/ 155642 w 1031132"/>
                <a:gd name="connsiteY2" fmla="*/ 824159 h 1031132"/>
                <a:gd name="connsiteX3" fmla="*/ 191309 w 1031132"/>
                <a:gd name="connsiteY3" fmla="*/ 859826 h 1031132"/>
                <a:gd name="connsiteX4" fmla="*/ 967652 w 1031132"/>
                <a:gd name="connsiteY4" fmla="*/ 856974 h 1031132"/>
                <a:gd name="connsiteX5" fmla="*/ 1031132 w 1031132"/>
                <a:gd name="connsiteY5" fmla="*/ 995465 h 1031132"/>
                <a:gd name="connsiteX6" fmla="*/ 995465 w 1031132"/>
                <a:gd name="connsiteY6" fmla="*/ 1031132 h 1031132"/>
                <a:gd name="connsiteX7" fmla="*/ 35667 w 1031132"/>
                <a:gd name="connsiteY7" fmla="*/ 1031132 h 1031132"/>
                <a:gd name="connsiteX8" fmla="*/ 0 w 1031132"/>
                <a:gd name="connsiteY8" fmla="*/ 995465 h 1031132"/>
                <a:gd name="connsiteX9" fmla="*/ 0 w 1031132"/>
                <a:gd name="connsiteY9" fmla="*/ 35667 h 1031132"/>
                <a:gd name="connsiteX10" fmla="*/ 35667 w 1031132"/>
                <a:gd name="connsiteY10" fmla="*/ 0 h 1031132"/>
                <a:gd name="connsiteX0" fmla="*/ 35667 w 1031132"/>
                <a:gd name="connsiteY0" fmla="*/ 1943 h 1033075"/>
                <a:gd name="connsiteX1" fmla="*/ 160554 w 1031132"/>
                <a:gd name="connsiteY1" fmla="*/ 51816 h 1033075"/>
                <a:gd name="connsiteX2" fmla="*/ 155642 w 1031132"/>
                <a:gd name="connsiteY2" fmla="*/ 826102 h 1033075"/>
                <a:gd name="connsiteX3" fmla="*/ 191309 w 1031132"/>
                <a:gd name="connsiteY3" fmla="*/ 861769 h 1033075"/>
                <a:gd name="connsiteX4" fmla="*/ 967652 w 1031132"/>
                <a:gd name="connsiteY4" fmla="*/ 858917 h 1033075"/>
                <a:gd name="connsiteX5" fmla="*/ 1031132 w 1031132"/>
                <a:gd name="connsiteY5" fmla="*/ 997408 h 1033075"/>
                <a:gd name="connsiteX6" fmla="*/ 995465 w 1031132"/>
                <a:gd name="connsiteY6" fmla="*/ 1033075 h 1033075"/>
                <a:gd name="connsiteX7" fmla="*/ 35667 w 1031132"/>
                <a:gd name="connsiteY7" fmla="*/ 1033075 h 1033075"/>
                <a:gd name="connsiteX8" fmla="*/ 0 w 1031132"/>
                <a:gd name="connsiteY8" fmla="*/ 997408 h 1033075"/>
                <a:gd name="connsiteX9" fmla="*/ 0 w 1031132"/>
                <a:gd name="connsiteY9" fmla="*/ 37610 h 1033075"/>
                <a:gd name="connsiteX10" fmla="*/ 35667 w 1031132"/>
                <a:gd name="connsiteY10" fmla="*/ 1943 h 1033075"/>
                <a:gd name="connsiteX0" fmla="*/ 35667 w 1031132"/>
                <a:gd name="connsiteY0" fmla="*/ 1943 h 1033075"/>
                <a:gd name="connsiteX1" fmla="*/ 160554 w 1031132"/>
                <a:gd name="connsiteY1" fmla="*/ 51816 h 1033075"/>
                <a:gd name="connsiteX2" fmla="*/ 155642 w 1031132"/>
                <a:gd name="connsiteY2" fmla="*/ 826102 h 1033075"/>
                <a:gd name="connsiteX3" fmla="*/ 191309 w 1031132"/>
                <a:gd name="connsiteY3" fmla="*/ 861769 h 1033075"/>
                <a:gd name="connsiteX4" fmla="*/ 967652 w 1031132"/>
                <a:gd name="connsiteY4" fmla="*/ 858917 h 1033075"/>
                <a:gd name="connsiteX5" fmla="*/ 1031132 w 1031132"/>
                <a:gd name="connsiteY5" fmla="*/ 997408 h 1033075"/>
                <a:gd name="connsiteX6" fmla="*/ 995465 w 1031132"/>
                <a:gd name="connsiteY6" fmla="*/ 1033075 h 1033075"/>
                <a:gd name="connsiteX7" fmla="*/ 35667 w 1031132"/>
                <a:gd name="connsiteY7" fmla="*/ 1033075 h 1033075"/>
                <a:gd name="connsiteX8" fmla="*/ 0 w 1031132"/>
                <a:gd name="connsiteY8" fmla="*/ 997408 h 1033075"/>
                <a:gd name="connsiteX9" fmla="*/ 0 w 1031132"/>
                <a:gd name="connsiteY9" fmla="*/ 37610 h 1033075"/>
                <a:gd name="connsiteX10" fmla="*/ 35667 w 1031132"/>
                <a:gd name="connsiteY10" fmla="*/ 1943 h 1033075"/>
                <a:gd name="connsiteX0" fmla="*/ 35667 w 1037517"/>
                <a:gd name="connsiteY0" fmla="*/ 1943 h 1033075"/>
                <a:gd name="connsiteX1" fmla="*/ 160554 w 1037517"/>
                <a:gd name="connsiteY1" fmla="*/ 51816 h 1033075"/>
                <a:gd name="connsiteX2" fmla="*/ 155642 w 1037517"/>
                <a:gd name="connsiteY2" fmla="*/ 826102 h 1033075"/>
                <a:gd name="connsiteX3" fmla="*/ 191309 w 1037517"/>
                <a:gd name="connsiteY3" fmla="*/ 861769 h 1033075"/>
                <a:gd name="connsiteX4" fmla="*/ 967652 w 1037517"/>
                <a:gd name="connsiteY4" fmla="*/ 858917 h 1033075"/>
                <a:gd name="connsiteX5" fmla="*/ 1031132 w 1037517"/>
                <a:gd name="connsiteY5" fmla="*/ 997408 h 1033075"/>
                <a:gd name="connsiteX6" fmla="*/ 995465 w 1037517"/>
                <a:gd name="connsiteY6" fmla="*/ 1033075 h 1033075"/>
                <a:gd name="connsiteX7" fmla="*/ 35667 w 1037517"/>
                <a:gd name="connsiteY7" fmla="*/ 1033075 h 1033075"/>
                <a:gd name="connsiteX8" fmla="*/ 0 w 1037517"/>
                <a:gd name="connsiteY8" fmla="*/ 997408 h 1033075"/>
                <a:gd name="connsiteX9" fmla="*/ 0 w 1037517"/>
                <a:gd name="connsiteY9" fmla="*/ 37610 h 1033075"/>
                <a:gd name="connsiteX10" fmla="*/ 35667 w 1037517"/>
                <a:gd name="connsiteY10" fmla="*/ 1943 h 103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7517" h="1033075">
                  <a:moveTo>
                    <a:pt x="35667" y="1943"/>
                  </a:moveTo>
                  <a:cubicBezTo>
                    <a:pt x="77296" y="18567"/>
                    <a:pt x="144960" y="-36404"/>
                    <a:pt x="160554" y="51816"/>
                  </a:cubicBezTo>
                  <a:cubicBezTo>
                    <a:pt x="163256" y="309911"/>
                    <a:pt x="152940" y="568007"/>
                    <a:pt x="155642" y="826102"/>
                  </a:cubicBezTo>
                  <a:cubicBezTo>
                    <a:pt x="155642" y="845800"/>
                    <a:pt x="171611" y="861769"/>
                    <a:pt x="191309" y="861769"/>
                  </a:cubicBezTo>
                  <a:lnTo>
                    <a:pt x="967652" y="858917"/>
                  </a:lnTo>
                  <a:cubicBezTo>
                    <a:pt x="1047393" y="872538"/>
                    <a:pt x="1042517" y="944732"/>
                    <a:pt x="1031132" y="997408"/>
                  </a:cubicBezTo>
                  <a:cubicBezTo>
                    <a:pt x="1031132" y="1017106"/>
                    <a:pt x="1015163" y="1033075"/>
                    <a:pt x="995465" y="1033075"/>
                  </a:cubicBezTo>
                  <a:lnTo>
                    <a:pt x="35667" y="1033075"/>
                  </a:lnTo>
                  <a:cubicBezTo>
                    <a:pt x="15969" y="1033075"/>
                    <a:pt x="0" y="1017106"/>
                    <a:pt x="0" y="997408"/>
                  </a:cubicBezTo>
                  <a:lnTo>
                    <a:pt x="0" y="37610"/>
                  </a:lnTo>
                  <a:cubicBezTo>
                    <a:pt x="0" y="17912"/>
                    <a:pt x="15969" y="1943"/>
                    <a:pt x="35667" y="19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26" name="Oval 21"/>
          <p:cNvSpPr/>
          <p:nvPr/>
        </p:nvSpPr>
        <p:spPr>
          <a:xfrm>
            <a:off x="4345901" y="5204166"/>
            <a:ext cx="303748" cy="306140"/>
          </a:xfrm>
          <a:custGeom>
            <a:avLst/>
            <a:gdLst/>
            <a:ahLst/>
            <a:cxnLst/>
            <a:rect l="l" t="t" r="r" b="b"/>
            <a:pathLst>
              <a:path w="3255473" h="3281120">
                <a:moveTo>
                  <a:pt x="2628792" y="1432041"/>
                </a:moveTo>
                <a:cubicBezTo>
                  <a:pt x="2640727" y="1432139"/>
                  <a:pt x="2653386" y="1432456"/>
                  <a:pt x="2667487" y="1432975"/>
                </a:cubicBezTo>
                <a:cubicBezTo>
                  <a:pt x="2965182" y="1443935"/>
                  <a:pt x="3241997" y="1545378"/>
                  <a:pt x="3255473" y="1769974"/>
                </a:cubicBezTo>
                <a:lnTo>
                  <a:pt x="3053550" y="2608466"/>
                </a:lnTo>
                <a:cubicBezTo>
                  <a:pt x="2913961" y="2885528"/>
                  <a:pt x="2630602" y="2920794"/>
                  <a:pt x="2414411" y="2844743"/>
                </a:cubicBezTo>
                <a:lnTo>
                  <a:pt x="2681229" y="1736772"/>
                </a:lnTo>
                <a:cubicBezTo>
                  <a:pt x="2673579" y="1609272"/>
                  <a:pt x="2628755" y="1510292"/>
                  <a:pt x="2521574" y="1437421"/>
                </a:cubicBezTo>
                <a:cubicBezTo>
                  <a:pt x="2563700" y="1433407"/>
                  <a:pt x="2592986" y="1431744"/>
                  <a:pt x="2628792" y="1432041"/>
                </a:cubicBezTo>
                <a:close/>
                <a:moveTo>
                  <a:pt x="626682" y="1432041"/>
                </a:moveTo>
                <a:cubicBezTo>
                  <a:pt x="662487" y="1431744"/>
                  <a:pt x="691773" y="1433407"/>
                  <a:pt x="733899" y="1437421"/>
                </a:cubicBezTo>
                <a:cubicBezTo>
                  <a:pt x="626718" y="1510292"/>
                  <a:pt x="581894" y="1609272"/>
                  <a:pt x="574244" y="1736772"/>
                </a:cubicBezTo>
                <a:lnTo>
                  <a:pt x="841062" y="2844743"/>
                </a:lnTo>
                <a:cubicBezTo>
                  <a:pt x="624871" y="2920794"/>
                  <a:pt x="341512" y="2885528"/>
                  <a:pt x="201923" y="2608466"/>
                </a:cubicBezTo>
                <a:lnTo>
                  <a:pt x="0" y="1769974"/>
                </a:lnTo>
                <a:cubicBezTo>
                  <a:pt x="13476" y="1545378"/>
                  <a:pt x="290291" y="1443935"/>
                  <a:pt x="587986" y="1432975"/>
                </a:cubicBezTo>
                <a:cubicBezTo>
                  <a:pt x="602087" y="1432456"/>
                  <a:pt x="614746" y="1432139"/>
                  <a:pt x="626682" y="1432041"/>
                </a:cubicBezTo>
                <a:close/>
                <a:moveTo>
                  <a:pt x="1525812" y="1267816"/>
                </a:moveTo>
                <a:cubicBezTo>
                  <a:pt x="2058433" y="1248206"/>
                  <a:pt x="2639086" y="1436734"/>
                  <a:pt x="2550682" y="1736771"/>
                </a:cubicBezTo>
                <a:lnTo>
                  <a:pt x="2260169" y="2903583"/>
                </a:lnTo>
                <a:cubicBezTo>
                  <a:pt x="2141106" y="3270296"/>
                  <a:pt x="1302907" y="3527470"/>
                  <a:pt x="988582" y="2903583"/>
                </a:cubicBezTo>
                <a:lnTo>
                  <a:pt x="707594" y="1736771"/>
                </a:lnTo>
                <a:cubicBezTo>
                  <a:pt x="726346" y="1424232"/>
                  <a:pt x="1111551" y="1283069"/>
                  <a:pt x="1525812" y="1267816"/>
                </a:cubicBezTo>
                <a:close/>
                <a:moveTo>
                  <a:pt x="2588781" y="497832"/>
                </a:moveTo>
                <a:cubicBezTo>
                  <a:pt x="2804662" y="497832"/>
                  <a:pt x="2979668" y="672838"/>
                  <a:pt x="2979668" y="888719"/>
                </a:cubicBezTo>
                <a:cubicBezTo>
                  <a:pt x="2979668" y="1104600"/>
                  <a:pt x="2804662" y="1279606"/>
                  <a:pt x="2588781" y="1279606"/>
                </a:cubicBezTo>
                <a:cubicBezTo>
                  <a:pt x="2372900" y="1279606"/>
                  <a:pt x="2197894" y="1104600"/>
                  <a:pt x="2197894" y="888719"/>
                </a:cubicBezTo>
                <a:cubicBezTo>
                  <a:pt x="2197894" y="672838"/>
                  <a:pt x="2372900" y="497832"/>
                  <a:pt x="2588781" y="497832"/>
                </a:cubicBezTo>
                <a:close/>
                <a:moveTo>
                  <a:pt x="659970" y="497832"/>
                </a:moveTo>
                <a:cubicBezTo>
                  <a:pt x="875851" y="497832"/>
                  <a:pt x="1050857" y="672838"/>
                  <a:pt x="1050857" y="888719"/>
                </a:cubicBezTo>
                <a:cubicBezTo>
                  <a:pt x="1050857" y="1104600"/>
                  <a:pt x="875851" y="1279606"/>
                  <a:pt x="659970" y="1279606"/>
                </a:cubicBezTo>
                <a:cubicBezTo>
                  <a:pt x="444089" y="1279606"/>
                  <a:pt x="269083" y="1104600"/>
                  <a:pt x="269083" y="888719"/>
                </a:cubicBezTo>
                <a:cubicBezTo>
                  <a:pt x="269083" y="672838"/>
                  <a:pt x="444089" y="497832"/>
                  <a:pt x="659970" y="497832"/>
                </a:cubicBezTo>
                <a:close/>
                <a:moveTo>
                  <a:pt x="1631157" y="0"/>
                </a:moveTo>
                <a:cubicBezTo>
                  <a:pt x="1931206" y="0"/>
                  <a:pt x="2174444" y="243238"/>
                  <a:pt x="2174444" y="543287"/>
                </a:cubicBezTo>
                <a:cubicBezTo>
                  <a:pt x="2174444" y="843336"/>
                  <a:pt x="1931206" y="1086574"/>
                  <a:pt x="1631157" y="1086574"/>
                </a:cubicBezTo>
                <a:cubicBezTo>
                  <a:pt x="1331108" y="1086574"/>
                  <a:pt x="1087870" y="843336"/>
                  <a:pt x="1087870" y="543287"/>
                </a:cubicBezTo>
                <a:cubicBezTo>
                  <a:pt x="1087870" y="243238"/>
                  <a:pt x="1331108" y="0"/>
                  <a:pt x="1631157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29" name="Oval 2"/>
          <p:cNvSpPr/>
          <p:nvPr/>
        </p:nvSpPr>
        <p:spPr>
          <a:xfrm>
            <a:off x="8121552" y="5187756"/>
            <a:ext cx="299042" cy="286268"/>
          </a:xfrm>
          <a:custGeom>
            <a:avLst/>
            <a:gdLst/>
            <a:ahLst/>
            <a:cxnLst/>
            <a:rect l="l" t="t" r="r" b="b"/>
            <a:pathLst>
              <a:path w="1016264" h="972856">
                <a:moveTo>
                  <a:pt x="134879" y="817285"/>
                </a:moveTo>
                <a:cubicBezTo>
                  <a:pt x="102427" y="817285"/>
                  <a:pt x="76120" y="843592"/>
                  <a:pt x="76120" y="876044"/>
                </a:cubicBezTo>
                <a:cubicBezTo>
                  <a:pt x="76120" y="908496"/>
                  <a:pt x="102427" y="934803"/>
                  <a:pt x="134879" y="934803"/>
                </a:cubicBezTo>
                <a:cubicBezTo>
                  <a:pt x="167331" y="934803"/>
                  <a:pt x="193638" y="908496"/>
                  <a:pt x="193638" y="876044"/>
                </a:cubicBezTo>
                <a:cubicBezTo>
                  <a:pt x="193638" y="843592"/>
                  <a:pt x="167331" y="817285"/>
                  <a:pt x="134879" y="817285"/>
                </a:cubicBezTo>
                <a:close/>
                <a:moveTo>
                  <a:pt x="330279" y="497264"/>
                </a:moveTo>
                <a:lnTo>
                  <a:pt x="445265" y="611789"/>
                </a:lnTo>
                <a:cubicBezTo>
                  <a:pt x="429724" y="655979"/>
                  <a:pt x="431139" y="704341"/>
                  <a:pt x="447784" y="748318"/>
                </a:cubicBezTo>
                <a:lnTo>
                  <a:pt x="228798" y="967304"/>
                </a:lnTo>
                <a:cubicBezTo>
                  <a:pt x="177911" y="1018191"/>
                  <a:pt x="95405" y="1018191"/>
                  <a:pt x="44518" y="967304"/>
                </a:cubicBezTo>
                <a:lnTo>
                  <a:pt x="44519" y="967304"/>
                </a:lnTo>
                <a:lnTo>
                  <a:pt x="44518" y="967304"/>
                </a:lnTo>
                <a:lnTo>
                  <a:pt x="44518" y="967304"/>
                </a:lnTo>
                <a:cubicBezTo>
                  <a:pt x="-6369" y="916417"/>
                  <a:pt x="-6369" y="833911"/>
                  <a:pt x="44519" y="783024"/>
                </a:cubicBezTo>
                <a:close/>
                <a:moveTo>
                  <a:pt x="58759" y="26709"/>
                </a:moveTo>
                <a:lnTo>
                  <a:pt x="223018" y="126867"/>
                </a:lnTo>
                <a:lnTo>
                  <a:pt x="255068" y="220347"/>
                </a:lnTo>
                <a:lnTo>
                  <a:pt x="254364" y="221174"/>
                </a:lnTo>
                <a:lnTo>
                  <a:pt x="591085" y="553957"/>
                </a:lnTo>
                <a:cubicBezTo>
                  <a:pt x="639289" y="532384"/>
                  <a:pt x="697786" y="541541"/>
                  <a:pt x="737374" y="581129"/>
                </a:cubicBezTo>
                <a:lnTo>
                  <a:pt x="942601" y="786356"/>
                </a:lnTo>
                <a:cubicBezTo>
                  <a:pt x="994102" y="837856"/>
                  <a:pt x="994102" y="921356"/>
                  <a:pt x="942601" y="972856"/>
                </a:cubicBezTo>
                <a:cubicBezTo>
                  <a:pt x="891101" y="1024357"/>
                  <a:pt x="807601" y="1024357"/>
                  <a:pt x="756101" y="972856"/>
                </a:cubicBezTo>
                <a:lnTo>
                  <a:pt x="550874" y="767629"/>
                </a:lnTo>
                <a:cubicBezTo>
                  <a:pt x="508105" y="724860"/>
                  <a:pt x="500854" y="660021"/>
                  <a:pt x="529638" y="610059"/>
                </a:cubicBezTo>
                <a:lnTo>
                  <a:pt x="197507" y="281813"/>
                </a:lnTo>
                <a:lnTo>
                  <a:pt x="112176" y="255068"/>
                </a:lnTo>
                <a:lnTo>
                  <a:pt x="0" y="84133"/>
                </a:lnTo>
                <a:close/>
                <a:moveTo>
                  <a:pt x="773215" y="0"/>
                </a:moveTo>
                <a:cubicBezTo>
                  <a:pt x="800938" y="0"/>
                  <a:pt x="827577" y="4591"/>
                  <a:pt x="852055" y="14050"/>
                </a:cubicBezTo>
                <a:lnTo>
                  <a:pt x="725340" y="145397"/>
                </a:lnTo>
                <a:cubicBezTo>
                  <a:pt x="687446" y="184676"/>
                  <a:pt x="688568" y="247237"/>
                  <a:pt x="727848" y="285130"/>
                </a:cubicBezTo>
                <a:cubicBezTo>
                  <a:pt x="767126" y="323024"/>
                  <a:pt x="829687" y="321901"/>
                  <a:pt x="867580" y="282622"/>
                </a:cubicBezTo>
                <a:lnTo>
                  <a:pt x="997517" y="147937"/>
                </a:lnTo>
                <a:cubicBezTo>
                  <a:pt x="1009632" y="176361"/>
                  <a:pt x="1016264" y="207604"/>
                  <a:pt x="1016264" y="240378"/>
                </a:cubicBezTo>
                <a:cubicBezTo>
                  <a:pt x="1016264" y="373135"/>
                  <a:pt x="907448" y="480756"/>
                  <a:pt x="773215" y="480756"/>
                </a:cubicBezTo>
                <a:cubicBezTo>
                  <a:pt x="753961" y="480756"/>
                  <a:pt x="735229" y="478542"/>
                  <a:pt x="717487" y="473486"/>
                </a:cubicBezTo>
                <a:cubicBezTo>
                  <a:pt x="680562" y="460197"/>
                  <a:pt x="640719" y="457605"/>
                  <a:pt x="602672" y="465792"/>
                </a:cubicBezTo>
                <a:lnTo>
                  <a:pt x="481968" y="345575"/>
                </a:lnTo>
                <a:lnTo>
                  <a:pt x="507478" y="320064"/>
                </a:lnTo>
                <a:cubicBezTo>
                  <a:pt x="516650" y="310892"/>
                  <a:pt x="526849" y="303373"/>
                  <a:pt x="538003" y="298060"/>
                </a:cubicBezTo>
                <a:cubicBezTo>
                  <a:pt x="532623" y="279712"/>
                  <a:pt x="530166" y="260329"/>
                  <a:pt x="530166" y="240378"/>
                </a:cubicBezTo>
                <a:cubicBezTo>
                  <a:pt x="530166" y="107621"/>
                  <a:pt x="638982" y="0"/>
                  <a:pt x="773215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10062713" y="5231358"/>
            <a:ext cx="297748" cy="301824"/>
            <a:chOff x="7017271" y="3165378"/>
            <a:chExt cx="665094" cy="674198"/>
          </a:xfrm>
        </p:grpSpPr>
        <p:sp>
          <p:nvSpPr>
            <p:cNvPr id="137" name="Donut 15"/>
            <p:cNvSpPr/>
            <p:nvPr/>
          </p:nvSpPr>
          <p:spPr>
            <a:xfrm>
              <a:off x="7273777" y="3525165"/>
              <a:ext cx="338143" cy="314411"/>
            </a:xfrm>
            <a:custGeom>
              <a:avLst/>
              <a:gdLst/>
              <a:ahLst/>
              <a:cxnLst/>
              <a:rect l="l" t="t" r="r" b="b"/>
              <a:pathLst>
                <a:path w="1146150" h="1065703">
                  <a:moveTo>
                    <a:pt x="567201" y="212003"/>
                  </a:moveTo>
                  <a:cubicBezTo>
                    <a:pt x="389110" y="212003"/>
                    <a:pt x="244738" y="356453"/>
                    <a:pt x="244738" y="534640"/>
                  </a:cubicBezTo>
                  <a:cubicBezTo>
                    <a:pt x="244738" y="712827"/>
                    <a:pt x="389110" y="857277"/>
                    <a:pt x="567201" y="857277"/>
                  </a:cubicBezTo>
                  <a:cubicBezTo>
                    <a:pt x="745292" y="857277"/>
                    <a:pt x="889664" y="712827"/>
                    <a:pt x="889664" y="534640"/>
                  </a:cubicBezTo>
                  <a:cubicBezTo>
                    <a:pt x="889664" y="356453"/>
                    <a:pt x="745292" y="212003"/>
                    <a:pt x="567201" y="212003"/>
                  </a:cubicBezTo>
                  <a:close/>
                  <a:moveTo>
                    <a:pt x="750937" y="1965"/>
                  </a:moveTo>
                  <a:cubicBezTo>
                    <a:pt x="761920" y="-1389"/>
                    <a:pt x="774183" y="-554"/>
                    <a:pt x="785123" y="5267"/>
                  </a:cubicBezTo>
                  <a:lnTo>
                    <a:pt x="867343" y="49014"/>
                  </a:lnTo>
                  <a:cubicBezTo>
                    <a:pt x="889221" y="60655"/>
                    <a:pt x="897520" y="87828"/>
                    <a:pt x="885879" y="109707"/>
                  </a:cubicBezTo>
                  <a:lnTo>
                    <a:pt x="839281" y="197285"/>
                  </a:lnTo>
                  <a:cubicBezTo>
                    <a:pt x="904218" y="248116"/>
                    <a:pt x="953621" y="317443"/>
                    <a:pt x="977763" y="398138"/>
                  </a:cubicBezTo>
                  <a:lnTo>
                    <a:pt x="1077621" y="380769"/>
                  </a:lnTo>
                  <a:cubicBezTo>
                    <a:pt x="1102038" y="376523"/>
                    <a:pt x="1125273" y="392873"/>
                    <a:pt x="1129520" y="417289"/>
                  </a:cubicBezTo>
                  <a:lnTo>
                    <a:pt x="1145479" y="509046"/>
                  </a:lnTo>
                  <a:cubicBezTo>
                    <a:pt x="1149726" y="533462"/>
                    <a:pt x="1133376" y="556698"/>
                    <a:pt x="1108959" y="560944"/>
                  </a:cubicBezTo>
                  <a:lnTo>
                    <a:pt x="997858" y="580268"/>
                  </a:lnTo>
                  <a:cubicBezTo>
                    <a:pt x="988900" y="675147"/>
                    <a:pt x="949134" y="760933"/>
                    <a:pt x="887371" y="826544"/>
                  </a:cubicBezTo>
                  <a:lnTo>
                    <a:pt x="943982" y="908607"/>
                  </a:lnTo>
                  <a:cubicBezTo>
                    <a:pt x="958055" y="929006"/>
                    <a:pt x="952926" y="956951"/>
                    <a:pt x="932527" y="971024"/>
                  </a:cubicBezTo>
                  <a:lnTo>
                    <a:pt x="855865" y="1023910"/>
                  </a:lnTo>
                  <a:cubicBezTo>
                    <a:pt x="835465" y="1037983"/>
                    <a:pt x="807520" y="1032854"/>
                    <a:pt x="793447" y="1012454"/>
                  </a:cubicBezTo>
                  <a:lnTo>
                    <a:pt x="739069" y="933629"/>
                  </a:lnTo>
                  <a:cubicBezTo>
                    <a:pt x="686687" y="957426"/>
                    <a:pt x="628420" y="970069"/>
                    <a:pt x="567201" y="970069"/>
                  </a:cubicBezTo>
                  <a:cubicBezTo>
                    <a:pt x="530761" y="970069"/>
                    <a:pt x="495366" y="965589"/>
                    <a:pt x="461915" y="955643"/>
                  </a:cubicBezTo>
                  <a:lnTo>
                    <a:pt x="400579" y="1046024"/>
                  </a:lnTo>
                  <a:cubicBezTo>
                    <a:pt x="386663" y="1066531"/>
                    <a:pt x="358758" y="1071873"/>
                    <a:pt x="338251" y="1057956"/>
                  </a:cubicBezTo>
                  <a:lnTo>
                    <a:pt x="261187" y="1005658"/>
                  </a:lnTo>
                  <a:cubicBezTo>
                    <a:pt x="240681" y="991741"/>
                    <a:pt x="235339" y="963836"/>
                    <a:pt x="249255" y="943330"/>
                  </a:cubicBezTo>
                  <a:lnTo>
                    <a:pt x="295891" y="874611"/>
                  </a:lnTo>
                  <a:cubicBezTo>
                    <a:pt x="218676" y="813301"/>
                    <a:pt x="163119" y="726056"/>
                    <a:pt x="141932" y="626080"/>
                  </a:cubicBezTo>
                  <a:lnTo>
                    <a:pt x="44873" y="626080"/>
                  </a:lnTo>
                  <a:cubicBezTo>
                    <a:pt x="20090" y="626080"/>
                    <a:pt x="0" y="605990"/>
                    <a:pt x="0" y="581207"/>
                  </a:cubicBezTo>
                  <a:lnTo>
                    <a:pt x="0" y="488073"/>
                  </a:lnTo>
                  <a:cubicBezTo>
                    <a:pt x="0" y="463290"/>
                    <a:pt x="20090" y="443200"/>
                    <a:pt x="44873" y="443200"/>
                  </a:cubicBezTo>
                  <a:lnTo>
                    <a:pt x="141933" y="443200"/>
                  </a:lnTo>
                  <a:cubicBezTo>
                    <a:pt x="159897" y="358428"/>
                    <a:pt x="202573" y="282810"/>
                    <a:pt x="263111" y="225275"/>
                  </a:cubicBezTo>
                  <a:lnTo>
                    <a:pt x="204256" y="146400"/>
                  </a:lnTo>
                  <a:cubicBezTo>
                    <a:pt x="189435" y="126537"/>
                    <a:pt x="193522" y="98421"/>
                    <a:pt x="213385" y="83600"/>
                  </a:cubicBezTo>
                  <a:lnTo>
                    <a:pt x="288029" y="27902"/>
                  </a:lnTo>
                  <a:cubicBezTo>
                    <a:pt x="307892" y="13081"/>
                    <a:pt x="336008" y="17168"/>
                    <a:pt x="350829" y="37031"/>
                  </a:cubicBezTo>
                  <a:lnTo>
                    <a:pt x="417147" y="125909"/>
                  </a:lnTo>
                  <a:cubicBezTo>
                    <a:pt x="463890" y="108599"/>
                    <a:pt x="514450" y="99211"/>
                    <a:pt x="567201" y="99211"/>
                  </a:cubicBezTo>
                  <a:cubicBezTo>
                    <a:pt x="604953" y="99211"/>
                    <a:pt x="641582" y="104019"/>
                    <a:pt x="676101" y="114635"/>
                  </a:cubicBezTo>
                  <a:lnTo>
                    <a:pt x="724430" y="23803"/>
                  </a:lnTo>
                  <a:cubicBezTo>
                    <a:pt x="730251" y="12864"/>
                    <a:pt x="739954" y="5320"/>
                    <a:pt x="750937" y="196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38" name="Donut 28"/>
            <p:cNvSpPr/>
            <p:nvPr/>
          </p:nvSpPr>
          <p:spPr>
            <a:xfrm rot="20221914">
              <a:off x="7442757" y="3169465"/>
              <a:ext cx="239608" cy="222792"/>
            </a:xfrm>
            <a:custGeom>
              <a:avLst/>
              <a:gdLst/>
              <a:ahLst/>
              <a:cxnLst/>
              <a:rect l="l" t="t" r="r" b="b"/>
              <a:pathLst>
                <a:path w="812157" h="755155">
                  <a:moveTo>
                    <a:pt x="476237" y="202804"/>
                  </a:moveTo>
                  <a:cubicBezTo>
                    <a:pt x="453394" y="193136"/>
                    <a:pt x="428280" y="187790"/>
                    <a:pt x="401918" y="187790"/>
                  </a:cubicBezTo>
                  <a:cubicBezTo>
                    <a:pt x="296470" y="187790"/>
                    <a:pt x="210987" y="273328"/>
                    <a:pt x="210987" y="378844"/>
                  </a:cubicBezTo>
                  <a:cubicBezTo>
                    <a:pt x="210987" y="484360"/>
                    <a:pt x="296470" y="569898"/>
                    <a:pt x="401918" y="569898"/>
                  </a:cubicBezTo>
                  <a:cubicBezTo>
                    <a:pt x="507366" y="569898"/>
                    <a:pt x="592849" y="484360"/>
                    <a:pt x="592849" y="378844"/>
                  </a:cubicBezTo>
                  <a:cubicBezTo>
                    <a:pt x="592849" y="299707"/>
                    <a:pt x="544765" y="231808"/>
                    <a:pt x="476237" y="202804"/>
                  </a:cubicBezTo>
                  <a:close/>
                  <a:moveTo>
                    <a:pt x="556335" y="3732"/>
                  </a:moveTo>
                  <a:lnTo>
                    <a:pt x="614596" y="34731"/>
                  </a:lnTo>
                  <a:cubicBezTo>
                    <a:pt x="630099" y="42980"/>
                    <a:pt x="635980" y="62235"/>
                    <a:pt x="627731" y="77738"/>
                  </a:cubicBezTo>
                  <a:lnTo>
                    <a:pt x="594712" y="139794"/>
                  </a:lnTo>
                  <a:cubicBezTo>
                    <a:pt x="640727" y="175813"/>
                    <a:pt x="675734" y="224938"/>
                    <a:pt x="692841" y="282118"/>
                  </a:cubicBezTo>
                  <a:lnTo>
                    <a:pt x="763598" y="269812"/>
                  </a:lnTo>
                  <a:cubicBezTo>
                    <a:pt x="780899" y="266803"/>
                    <a:pt x="797364" y="278389"/>
                    <a:pt x="800373" y="295690"/>
                  </a:cubicBezTo>
                  <a:lnTo>
                    <a:pt x="811682" y="360708"/>
                  </a:lnTo>
                  <a:cubicBezTo>
                    <a:pt x="814691" y="378009"/>
                    <a:pt x="803105" y="394474"/>
                    <a:pt x="785804" y="397483"/>
                  </a:cubicBezTo>
                  <a:lnTo>
                    <a:pt x="707081" y="411175"/>
                  </a:lnTo>
                  <a:cubicBezTo>
                    <a:pt x="700733" y="478407"/>
                    <a:pt x="672555" y="539196"/>
                    <a:pt x="628788" y="585688"/>
                  </a:cubicBezTo>
                  <a:lnTo>
                    <a:pt x="668902" y="643837"/>
                  </a:lnTo>
                  <a:cubicBezTo>
                    <a:pt x="678874" y="658292"/>
                    <a:pt x="675240" y="678094"/>
                    <a:pt x="660785" y="688066"/>
                  </a:cubicBezTo>
                  <a:lnTo>
                    <a:pt x="606463" y="725540"/>
                  </a:lnTo>
                  <a:cubicBezTo>
                    <a:pt x="592007" y="735512"/>
                    <a:pt x="572206" y="731878"/>
                    <a:pt x="562234" y="717423"/>
                  </a:cubicBezTo>
                  <a:lnTo>
                    <a:pt x="523702" y="661568"/>
                  </a:lnTo>
                  <a:cubicBezTo>
                    <a:pt x="486584" y="678429"/>
                    <a:pt x="445297" y="687388"/>
                    <a:pt x="401918" y="687388"/>
                  </a:cubicBezTo>
                  <a:cubicBezTo>
                    <a:pt x="376096" y="687388"/>
                    <a:pt x="351015" y="684213"/>
                    <a:pt x="327312" y="677166"/>
                  </a:cubicBezTo>
                  <a:lnTo>
                    <a:pt x="283848" y="741211"/>
                  </a:lnTo>
                  <a:cubicBezTo>
                    <a:pt x="273987" y="755741"/>
                    <a:pt x="254214" y="759527"/>
                    <a:pt x="239683" y="749666"/>
                  </a:cubicBezTo>
                  <a:lnTo>
                    <a:pt x="185076" y="712607"/>
                  </a:lnTo>
                  <a:cubicBezTo>
                    <a:pt x="170545" y="702746"/>
                    <a:pt x="166759" y="682972"/>
                    <a:pt x="176621" y="668442"/>
                  </a:cubicBezTo>
                  <a:lnTo>
                    <a:pt x="209668" y="619746"/>
                  </a:lnTo>
                  <a:cubicBezTo>
                    <a:pt x="154953" y="576302"/>
                    <a:pt x="115586" y="514481"/>
                    <a:pt x="100574" y="443638"/>
                  </a:cubicBezTo>
                  <a:lnTo>
                    <a:pt x="31797" y="443638"/>
                  </a:lnTo>
                  <a:cubicBezTo>
                    <a:pt x="14236" y="443638"/>
                    <a:pt x="0" y="429402"/>
                    <a:pt x="0" y="411841"/>
                  </a:cubicBezTo>
                  <a:lnTo>
                    <a:pt x="0" y="345847"/>
                  </a:lnTo>
                  <a:cubicBezTo>
                    <a:pt x="0" y="328286"/>
                    <a:pt x="14236" y="314050"/>
                    <a:pt x="31797" y="314050"/>
                  </a:cubicBezTo>
                  <a:lnTo>
                    <a:pt x="100573" y="314050"/>
                  </a:lnTo>
                  <a:cubicBezTo>
                    <a:pt x="113303" y="253982"/>
                    <a:pt x="143543" y="200399"/>
                    <a:pt x="186439" y="159629"/>
                  </a:cubicBezTo>
                  <a:lnTo>
                    <a:pt x="144734" y="103738"/>
                  </a:lnTo>
                  <a:cubicBezTo>
                    <a:pt x="134232" y="89663"/>
                    <a:pt x="137128" y="69740"/>
                    <a:pt x="151203" y="59238"/>
                  </a:cubicBezTo>
                  <a:lnTo>
                    <a:pt x="204095" y="19771"/>
                  </a:lnTo>
                  <a:cubicBezTo>
                    <a:pt x="218169" y="9269"/>
                    <a:pt x="238093" y="12165"/>
                    <a:pt x="248595" y="26239"/>
                  </a:cubicBezTo>
                  <a:lnTo>
                    <a:pt x="295589" y="89219"/>
                  </a:lnTo>
                  <a:cubicBezTo>
                    <a:pt x="328711" y="76953"/>
                    <a:pt x="364538" y="70300"/>
                    <a:pt x="401918" y="70300"/>
                  </a:cubicBezTo>
                  <a:cubicBezTo>
                    <a:pt x="428668" y="70300"/>
                    <a:pt x="454623" y="73707"/>
                    <a:pt x="479084" y="81229"/>
                  </a:cubicBezTo>
                  <a:lnTo>
                    <a:pt x="513329" y="16867"/>
                  </a:lnTo>
                  <a:cubicBezTo>
                    <a:pt x="521578" y="1364"/>
                    <a:pt x="540833" y="-4517"/>
                    <a:pt x="556335" y="373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39" name="Donut 15"/>
            <p:cNvSpPr/>
            <p:nvPr/>
          </p:nvSpPr>
          <p:spPr>
            <a:xfrm rot="20036216">
              <a:off x="7017271" y="3165378"/>
              <a:ext cx="452558" cy="420796"/>
            </a:xfrm>
            <a:custGeom>
              <a:avLst/>
              <a:gdLst/>
              <a:ahLst/>
              <a:cxnLst/>
              <a:rect l="l" t="t" r="r" b="b"/>
              <a:pathLst>
                <a:path w="1146150" h="1065703">
                  <a:moveTo>
                    <a:pt x="567201" y="212003"/>
                  </a:moveTo>
                  <a:cubicBezTo>
                    <a:pt x="389110" y="212003"/>
                    <a:pt x="244738" y="356453"/>
                    <a:pt x="244738" y="534640"/>
                  </a:cubicBezTo>
                  <a:cubicBezTo>
                    <a:pt x="244738" y="712827"/>
                    <a:pt x="389110" y="857277"/>
                    <a:pt x="567201" y="857277"/>
                  </a:cubicBezTo>
                  <a:cubicBezTo>
                    <a:pt x="745292" y="857277"/>
                    <a:pt x="889664" y="712827"/>
                    <a:pt x="889664" y="534640"/>
                  </a:cubicBezTo>
                  <a:cubicBezTo>
                    <a:pt x="889664" y="356453"/>
                    <a:pt x="745292" y="212003"/>
                    <a:pt x="567201" y="212003"/>
                  </a:cubicBezTo>
                  <a:close/>
                  <a:moveTo>
                    <a:pt x="750937" y="1965"/>
                  </a:moveTo>
                  <a:cubicBezTo>
                    <a:pt x="761920" y="-1389"/>
                    <a:pt x="774183" y="-554"/>
                    <a:pt x="785123" y="5267"/>
                  </a:cubicBezTo>
                  <a:lnTo>
                    <a:pt x="867343" y="49014"/>
                  </a:lnTo>
                  <a:cubicBezTo>
                    <a:pt x="889221" y="60655"/>
                    <a:pt x="897520" y="87828"/>
                    <a:pt x="885879" y="109707"/>
                  </a:cubicBezTo>
                  <a:lnTo>
                    <a:pt x="839281" y="197285"/>
                  </a:lnTo>
                  <a:cubicBezTo>
                    <a:pt x="904218" y="248116"/>
                    <a:pt x="953621" y="317443"/>
                    <a:pt x="977763" y="398138"/>
                  </a:cubicBezTo>
                  <a:lnTo>
                    <a:pt x="1077621" y="380769"/>
                  </a:lnTo>
                  <a:cubicBezTo>
                    <a:pt x="1102038" y="376523"/>
                    <a:pt x="1125273" y="392873"/>
                    <a:pt x="1129520" y="417289"/>
                  </a:cubicBezTo>
                  <a:lnTo>
                    <a:pt x="1145479" y="509046"/>
                  </a:lnTo>
                  <a:cubicBezTo>
                    <a:pt x="1149726" y="533462"/>
                    <a:pt x="1133376" y="556698"/>
                    <a:pt x="1108959" y="560944"/>
                  </a:cubicBezTo>
                  <a:lnTo>
                    <a:pt x="997858" y="580268"/>
                  </a:lnTo>
                  <a:cubicBezTo>
                    <a:pt x="988900" y="675147"/>
                    <a:pt x="949134" y="760933"/>
                    <a:pt x="887371" y="826544"/>
                  </a:cubicBezTo>
                  <a:lnTo>
                    <a:pt x="943982" y="908607"/>
                  </a:lnTo>
                  <a:cubicBezTo>
                    <a:pt x="958055" y="929006"/>
                    <a:pt x="952926" y="956951"/>
                    <a:pt x="932527" y="971024"/>
                  </a:cubicBezTo>
                  <a:lnTo>
                    <a:pt x="855865" y="1023910"/>
                  </a:lnTo>
                  <a:cubicBezTo>
                    <a:pt x="835465" y="1037983"/>
                    <a:pt x="807520" y="1032854"/>
                    <a:pt x="793447" y="1012454"/>
                  </a:cubicBezTo>
                  <a:lnTo>
                    <a:pt x="739069" y="933629"/>
                  </a:lnTo>
                  <a:cubicBezTo>
                    <a:pt x="686687" y="957426"/>
                    <a:pt x="628420" y="970069"/>
                    <a:pt x="567201" y="970069"/>
                  </a:cubicBezTo>
                  <a:cubicBezTo>
                    <a:pt x="530761" y="970069"/>
                    <a:pt x="495366" y="965589"/>
                    <a:pt x="461915" y="955643"/>
                  </a:cubicBezTo>
                  <a:lnTo>
                    <a:pt x="400579" y="1046024"/>
                  </a:lnTo>
                  <a:cubicBezTo>
                    <a:pt x="386663" y="1066531"/>
                    <a:pt x="358758" y="1071873"/>
                    <a:pt x="338251" y="1057956"/>
                  </a:cubicBezTo>
                  <a:lnTo>
                    <a:pt x="261187" y="1005658"/>
                  </a:lnTo>
                  <a:cubicBezTo>
                    <a:pt x="240681" y="991741"/>
                    <a:pt x="235339" y="963836"/>
                    <a:pt x="249255" y="943330"/>
                  </a:cubicBezTo>
                  <a:lnTo>
                    <a:pt x="295891" y="874611"/>
                  </a:lnTo>
                  <a:cubicBezTo>
                    <a:pt x="218676" y="813301"/>
                    <a:pt x="163119" y="726056"/>
                    <a:pt x="141932" y="626080"/>
                  </a:cubicBezTo>
                  <a:lnTo>
                    <a:pt x="44873" y="626080"/>
                  </a:lnTo>
                  <a:cubicBezTo>
                    <a:pt x="20090" y="626080"/>
                    <a:pt x="0" y="605990"/>
                    <a:pt x="0" y="581207"/>
                  </a:cubicBezTo>
                  <a:lnTo>
                    <a:pt x="0" y="488073"/>
                  </a:lnTo>
                  <a:cubicBezTo>
                    <a:pt x="0" y="463290"/>
                    <a:pt x="20090" y="443200"/>
                    <a:pt x="44873" y="443200"/>
                  </a:cubicBezTo>
                  <a:lnTo>
                    <a:pt x="141933" y="443200"/>
                  </a:lnTo>
                  <a:cubicBezTo>
                    <a:pt x="159897" y="358428"/>
                    <a:pt x="202573" y="282810"/>
                    <a:pt x="263111" y="225275"/>
                  </a:cubicBezTo>
                  <a:lnTo>
                    <a:pt x="204256" y="146400"/>
                  </a:lnTo>
                  <a:cubicBezTo>
                    <a:pt x="189435" y="126537"/>
                    <a:pt x="193522" y="98421"/>
                    <a:pt x="213385" y="83600"/>
                  </a:cubicBezTo>
                  <a:lnTo>
                    <a:pt x="288029" y="27902"/>
                  </a:lnTo>
                  <a:cubicBezTo>
                    <a:pt x="307892" y="13081"/>
                    <a:pt x="336008" y="17168"/>
                    <a:pt x="350829" y="37031"/>
                  </a:cubicBezTo>
                  <a:lnTo>
                    <a:pt x="417147" y="125909"/>
                  </a:lnTo>
                  <a:cubicBezTo>
                    <a:pt x="463890" y="108599"/>
                    <a:pt x="514450" y="99211"/>
                    <a:pt x="567201" y="99211"/>
                  </a:cubicBezTo>
                  <a:cubicBezTo>
                    <a:pt x="604953" y="99211"/>
                    <a:pt x="641582" y="104019"/>
                    <a:pt x="676101" y="114635"/>
                  </a:cubicBezTo>
                  <a:lnTo>
                    <a:pt x="724430" y="23803"/>
                  </a:lnTo>
                  <a:cubicBezTo>
                    <a:pt x="730251" y="12864"/>
                    <a:pt x="739954" y="5320"/>
                    <a:pt x="750937" y="196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2" name="Freeform: Shape 151"/>
          <p:cNvSpPr/>
          <p:nvPr/>
        </p:nvSpPr>
        <p:spPr>
          <a:xfrm>
            <a:off x="9991212" y="3833737"/>
            <a:ext cx="251110" cy="261248"/>
          </a:xfrm>
          <a:custGeom>
            <a:avLst/>
            <a:gdLst>
              <a:gd name="connsiteX0" fmla="*/ 207592 w 240543"/>
              <a:gd name="connsiteY0" fmla="*/ 0 h 250254"/>
              <a:gd name="connsiteX1" fmla="*/ 224098 w 240543"/>
              <a:gd name="connsiteY1" fmla="*/ 16506 h 250254"/>
              <a:gd name="connsiteX2" fmla="*/ 224098 w 240543"/>
              <a:gd name="connsiteY2" fmla="*/ 30377 h 250254"/>
              <a:gd name="connsiteX3" fmla="*/ 229559 w 240543"/>
              <a:gd name="connsiteY3" fmla="*/ 30377 h 250254"/>
              <a:gd name="connsiteX4" fmla="*/ 240543 w 240543"/>
              <a:gd name="connsiteY4" fmla="*/ 41361 h 250254"/>
              <a:gd name="connsiteX5" fmla="*/ 240543 w 240543"/>
              <a:gd name="connsiteY5" fmla="*/ 90724 h 250254"/>
              <a:gd name="connsiteX6" fmla="*/ 229559 w 240543"/>
              <a:gd name="connsiteY6" fmla="*/ 101708 h 250254"/>
              <a:gd name="connsiteX7" fmla="*/ 224098 w 240543"/>
              <a:gd name="connsiteY7" fmla="*/ 101708 h 250254"/>
              <a:gd name="connsiteX8" fmla="*/ 224098 w 240543"/>
              <a:gd name="connsiteY8" fmla="*/ 233748 h 250254"/>
              <a:gd name="connsiteX9" fmla="*/ 207592 w 240543"/>
              <a:gd name="connsiteY9" fmla="*/ 250254 h 250254"/>
              <a:gd name="connsiteX10" fmla="*/ 191086 w 240543"/>
              <a:gd name="connsiteY10" fmla="*/ 233748 h 250254"/>
              <a:gd name="connsiteX11" fmla="*/ 191086 w 240543"/>
              <a:gd name="connsiteY11" fmla="*/ 101708 h 250254"/>
              <a:gd name="connsiteX12" fmla="*/ 185627 w 240543"/>
              <a:gd name="connsiteY12" fmla="*/ 101708 h 250254"/>
              <a:gd name="connsiteX13" fmla="*/ 174643 w 240543"/>
              <a:gd name="connsiteY13" fmla="*/ 90724 h 250254"/>
              <a:gd name="connsiteX14" fmla="*/ 174643 w 240543"/>
              <a:gd name="connsiteY14" fmla="*/ 41361 h 250254"/>
              <a:gd name="connsiteX15" fmla="*/ 185627 w 240543"/>
              <a:gd name="connsiteY15" fmla="*/ 30377 h 250254"/>
              <a:gd name="connsiteX16" fmla="*/ 191086 w 240543"/>
              <a:gd name="connsiteY16" fmla="*/ 30377 h 250254"/>
              <a:gd name="connsiteX17" fmla="*/ 191086 w 240543"/>
              <a:gd name="connsiteY17" fmla="*/ 16506 h 250254"/>
              <a:gd name="connsiteX18" fmla="*/ 207592 w 240543"/>
              <a:gd name="connsiteY18" fmla="*/ 0 h 250254"/>
              <a:gd name="connsiteX19" fmla="*/ 122651 w 240543"/>
              <a:gd name="connsiteY19" fmla="*/ 0 h 250254"/>
              <a:gd name="connsiteX20" fmla="*/ 139157 w 240543"/>
              <a:gd name="connsiteY20" fmla="*/ 16506 h 250254"/>
              <a:gd name="connsiteX21" fmla="*/ 139157 w 240543"/>
              <a:gd name="connsiteY21" fmla="*/ 144676 h 250254"/>
              <a:gd name="connsiteX22" fmla="*/ 144618 w 240543"/>
              <a:gd name="connsiteY22" fmla="*/ 144676 h 250254"/>
              <a:gd name="connsiteX23" fmla="*/ 155602 w 240543"/>
              <a:gd name="connsiteY23" fmla="*/ 155660 h 250254"/>
              <a:gd name="connsiteX24" fmla="*/ 155602 w 240543"/>
              <a:gd name="connsiteY24" fmla="*/ 205023 h 250254"/>
              <a:gd name="connsiteX25" fmla="*/ 144618 w 240543"/>
              <a:gd name="connsiteY25" fmla="*/ 216007 h 250254"/>
              <a:gd name="connsiteX26" fmla="*/ 139157 w 240543"/>
              <a:gd name="connsiteY26" fmla="*/ 216007 h 250254"/>
              <a:gd name="connsiteX27" fmla="*/ 139157 w 240543"/>
              <a:gd name="connsiteY27" fmla="*/ 233748 h 250254"/>
              <a:gd name="connsiteX28" fmla="*/ 122651 w 240543"/>
              <a:gd name="connsiteY28" fmla="*/ 250254 h 250254"/>
              <a:gd name="connsiteX29" fmla="*/ 106145 w 240543"/>
              <a:gd name="connsiteY29" fmla="*/ 233748 h 250254"/>
              <a:gd name="connsiteX30" fmla="*/ 106145 w 240543"/>
              <a:gd name="connsiteY30" fmla="*/ 216007 h 250254"/>
              <a:gd name="connsiteX31" fmla="*/ 100686 w 240543"/>
              <a:gd name="connsiteY31" fmla="*/ 216007 h 250254"/>
              <a:gd name="connsiteX32" fmla="*/ 89702 w 240543"/>
              <a:gd name="connsiteY32" fmla="*/ 205023 h 250254"/>
              <a:gd name="connsiteX33" fmla="*/ 89702 w 240543"/>
              <a:gd name="connsiteY33" fmla="*/ 155660 h 250254"/>
              <a:gd name="connsiteX34" fmla="*/ 100686 w 240543"/>
              <a:gd name="connsiteY34" fmla="*/ 144676 h 250254"/>
              <a:gd name="connsiteX35" fmla="*/ 106145 w 240543"/>
              <a:gd name="connsiteY35" fmla="*/ 144676 h 250254"/>
              <a:gd name="connsiteX36" fmla="*/ 106145 w 240543"/>
              <a:gd name="connsiteY36" fmla="*/ 16506 h 250254"/>
              <a:gd name="connsiteX37" fmla="*/ 122651 w 240543"/>
              <a:gd name="connsiteY37" fmla="*/ 0 h 250254"/>
              <a:gd name="connsiteX38" fmla="*/ 32950 w 240543"/>
              <a:gd name="connsiteY38" fmla="*/ 0 h 250254"/>
              <a:gd name="connsiteX39" fmla="*/ 49456 w 240543"/>
              <a:gd name="connsiteY39" fmla="*/ 16506 h 250254"/>
              <a:gd name="connsiteX40" fmla="*/ 49456 w 240543"/>
              <a:gd name="connsiteY40" fmla="*/ 66042 h 250254"/>
              <a:gd name="connsiteX41" fmla="*/ 54916 w 240543"/>
              <a:gd name="connsiteY41" fmla="*/ 66042 h 250254"/>
              <a:gd name="connsiteX42" fmla="*/ 65900 w 240543"/>
              <a:gd name="connsiteY42" fmla="*/ 77026 h 250254"/>
              <a:gd name="connsiteX43" fmla="*/ 65900 w 240543"/>
              <a:gd name="connsiteY43" fmla="*/ 126389 h 250254"/>
              <a:gd name="connsiteX44" fmla="*/ 54916 w 240543"/>
              <a:gd name="connsiteY44" fmla="*/ 137373 h 250254"/>
              <a:gd name="connsiteX45" fmla="*/ 49456 w 240543"/>
              <a:gd name="connsiteY45" fmla="*/ 137373 h 250254"/>
              <a:gd name="connsiteX46" fmla="*/ 49456 w 240543"/>
              <a:gd name="connsiteY46" fmla="*/ 233748 h 250254"/>
              <a:gd name="connsiteX47" fmla="*/ 32950 w 240543"/>
              <a:gd name="connsiteY47" fmla="*/ 250254 h 250254"/>
              <a:gd name="connsiteX48" fmla="*/ 16444 w 240543"/>
              <a:gd name="connsiteY48" fmla="*/ 233748 h 250254"/>
              <a:gd name="connsiteX49" fmla="*/ 16444 w 240543"/>
              <a:gd name="connsiteY49" fmla="*/ 137373 h 250254"/>
              <a:gd name="connsiteX50" fmla="*/ 10984 w 240543"/>
              <a:gd name="connsiteY50" fmla="*/ 137373 h 250254"/>
              <a:gd name="connsiteX51" fmla="*/ 0 w 240543"/>
              <a:gd name="connsiteY51" fmla="*/ 126389 h 250254"/>
              <a:gd name="connsiteX52" fmla="*/ 0 w 240543"/>
              <a:gd name="connsiteY52" fmla="*/ 77026 h 250254"/>
              <a:gd name="connsiteX53" fmla="*/ 10984 w 240543"/>
              <a:gd name="connsiteY53" fmla="*/ 66042 h 250254"/>
              <a:gd name="connsiteX54" fmla="*/ 16444 w 240543"/>
              <a:gd name="connsiteY54" fmla="*/ 66042 h 250254"/>
              <a:gd name="connsiteX55" fmla="*/ 16444 w 240543"/>
              <a:gd name="connsiteY55" fmla="*/ 16506 h 250254"/>
              <a:gd name="connsiteX56" fmla="*/ 32950 w 240543"/>
              <a:gd name="connsiteY56" fmla="*/ 0 h 250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240543" h="250254">
                <a:moveTo>
                  <a:pt x="207592" y="0"/>
                </a:moveTo>
                <a:cubicBezTo>
                  <a:pt x="216708" y="0"/>
                  <a:pt x="224098" y="7390"/>
                  <a:pt x="224098" y="16506"/>
                </a:cubicBezTo>
                <a:lnTo>
                  <a:pt x="224098" y="30377"/>
                </a:lnTo>
                <a:lnTo>
                  <a:pt x="229559" y="30377"/>
                </a:lnTo>
                <a:cubicBezTo>
                  <a:pt x="235625" y="30377"/>
                  <a:pt x="240543" y="35295"/>
                  <a:pt x="240543" y="41361"/>
                </a:cubicBezTo>
                <a:lnTo>
                  <a:pt x="240543" y="90724"/>
                </a:lnTo>
                <a:cubicBezTo>
                  <a:pt x="240543" y="96790"/>
                  <a:pt x="235625" y="101708"/>
                  <a:pt x="229559" y="101708"/>
                </a:cubicBezTo>
                <a:lnTo>
                  <a:pt x="224098" y="101708"/>
                </a:lnTo>
                <a:lnTo>
                  <a:pt x="224098" y="233748"/>
                </a:lnTo>
                <a:cubicBezTo>
                  <a:pt x="224098" y="242864"/>
                  <a:pt x="216708" y="250254"/>
                  <a:pt x="207592" y="250254"/>
                </a:cubicBezTo>
                <a:cubicBezTo>
                  <a:pt x="198476" y="250254"/>
                  <a:pt x="191086" y="242864"/>
                  <a:pt x="191086" y="233748"/>
                </a:cubicBezTo>
                <a:lnTo>
                  <a:pt x="191086" y="101708"/>
                </a:lnTo>
                <a:lnTo>
                  <a:pt x="185627" y="101708"/>
                </a:lnTo>
                <a:cubicBezTo>
                  <a:pt x="179561" y="101708"/>
                  <a:pt x="174643" y="96790"/>
                  <a:pt x="174643" y="90724"/>
                </a:cubicBezTo>
                <a:lnTo>
                  <a:pt x="174643" y="41361"/>
                </a:lnTo>
                <a:cubicBezTo>
                  <a:pt x="174643" y="35295"/>
                  <a:pt x="179561" y="30377"/>
                  <a:pt x="185627" y="30377"/>
                </a:cubicBezTo>
                <a:lnTo>
                  <a:pt x="191086" y="30377"/>
                </a:lnTo>
                <a:lnTo>
                  <a:pt x="191086" y="16506"/>
                </a:lnTo>
                <a:cubicBezTo>
                  <a:pt x="191086" y="7390"/>
                  <a:pt x="198476" y="0"/>
                  <a:pt x="207592" y="0"/>
                </a:cubicBezTo>
                <a:close/>
                <a:moveTo>
                  <a:pt x="122651" y="0"/>
                </a:moveTo>
                <a:cubicBezTo>
                  <a:pt x="131767" y="0"/>
                  <a:pt x="139157" y="7390"/>
                  <a:pt x="139157" y="16506"/>
                </a:cubicBezTo>
                <a:lnTo>
                  <a:pt x="139157" y="144676"/>
                </a:lnTo>
                <a:lnTo>
                  <a:pt x="144618" y="144676"/>
                </a:lnTo>
                <a:cubicBezTo>
                  <a:pt x="150684" y="144676"/>
                  <a:pt x="155602" y="149594"/>
                  <a:pt x="155602" y="155660"/>
                </a:cubicBezTo>
                <a:lnTo>
                  <a:pt x="155602" y="205023"/>
                </a:lnTo>
                <a:cubicBezTo>
                  <a:pt x="155602" y="211089"/>
                  <a:pt x="150684" y="216007"/>
                  <a:pt x="144618" y="216007"/>
                </a:cubicBezTo>
                <a:lnTo>
                  <a:pt x="139157" y="216007"/>
                </a:lnTo>
                <a:lnTo>
                  <a:pt x="139157" y="233748"/>
                </a:lnTo>
                <a:cubicBezTo>
                  <a:pt x="139157" y="242864"/>
                  <a:pt x="131767" y="250254"/>
                  <a:pt x="122651" y="250254"/>
                </a:cubicBezTo>
                <a:cubicBezTo>
                  <a:pt x="113535" y="250254"/>
                  <a:pt x="106145" y="242864"/>
                  <a:pt x="106145" y="233748"/>
                </a:cubicBezTo>
                <a:lnTo>
                  <a:pt x="106145" y="216007"/>
                </a:lnTo>
                <a:lnTo>
                  <a:pt x="100686" y="216007"/>
                </a:lnTo>
                <a:cubicBezTo>
                  <a:pt x="94620" y="216007"/>
                  <a:pt x="89702" y="211089"/>
                  <a:pt x="89702" y="205023"/>
                </a:cubicBezTo>
                <a:lnTo>
                  <a:pt x="89702" y="155660"/>
                </a:lnTo>
                <a:cubicBezTo>
                  <a:pt x="89702" y="149594"/>
                  <a:pt x="94620" y="144676"/>
                  <a:pt x="100686" y="144676"/>
                </a:cubicBezTo>
                <a:lnTo>
                  <a:pt x="106145" y="144676"/>
                </a:lnTo>
                <a:lnTo>
                  <a:pt x="106145" y="16506"/>
                </a:lnTo>
                <a:cubicBezTo>
                  <a:pt x="106145" y="7390"/>
                  <a:pt x="113535" y="0"/>
                  <a:pt x="122651" y="0"/>
                </a:cubicBezTo>
                <a:close/>
                <a:moveTo>
                  <a:pt x="32950" y="0"/>
                </a:moveTo>
                <a:cubicBezTo>
                  <a:pt x="42066" y="0"/>
                  <a:pt x="49456" y="7390"/>
                  <a:pt x="49456" y="16506"/>
                </a:cubicBezTo>
                <a:lnTo>
                  <a:pt x="49456" y="66042"/>
                </a:lnTo>
                <a:lnTo>
                  <a:pt x="54916" y="66042"/>
                </a:lnTo>
                <a:cubicBezTo>
                  <a:pt x="60982" y="66042"/>
                  <a:pt x="65900" y="70960"/>
                  <a:pt x="65900" y="77026"/>
                </a:cubicBezTo>
                <a:lnTo>
                  <a:pt x="65900" y="126389"/>
                </a:lnTo>
                <a:cubicBezTo>
                  <a:pt x="65900" y="132455"/>
                  <a:pt x="60982" y="137373"/>
                  <a:pt x="54916" y="137373"/>
                </a:cubicBezTo>
                <a:lnTo>
                  <a:pt x="49456" y="137373"/>
                </a:lnTo>
                <a:lnTo>
                  <a:pt x="49456" y="233748"/>
                </a:lnTo>
                <a:cubicBezTo>
                  <a:pt x="49456" y="242864"/>
                  <a:pt x="42066" y="250254"/>
                  <a:pt x="32950" y="250254"/>
                </a:cubicBezTo>
                <a:cubicBezTo>
                  <a:pt x="23834" y="250254"/>
                  <a:pt x="16444" y="242864"/>
                  <a:pt x="16444" y="233748"/>
                </a:cubicBezTo>
                <a:lnTo>
                  <a:pt x="16444" y="137373"/>
                </a:lnTo>
                <a:lnTo>
                  <a:pt x="10984" y="137373"/>
                </a:lnTo>
                <a:cubicBezTo>
                  <a:pt x="4918" y="137373"/>
                  <a:pt x="0" y="132455"/>
                  <a:pt x="0" y="126389"/>
                </a:cubicBezTo>
                <a:lnTo>
                  <a:pt x="0" y="77026"/>
                </a:lnTo>
                <a:cubicBezTo>
                  <a:pt x="0" y="70960"/>
                  <a:pt x="4918" y="66042"/>
                  <a:pt x="10984" y="66042"/>
                </a:cubicBezTo>
                <a:lnTo>
                  <a:pt x="16444" y="66042"/>
                </a:lnTo>
                <a:lnTo>
                  <a:pt x="16444" y="16506"/>
                </a:lnTo>
                <a:cubicBezTo>
                  <a:pt x="16444" y="7390"/>
                  <a:pt x="23834" y="0"/>
                  <a:pt x="32950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8</a:t>
            </a:fld>
            <a:endParaRPr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6205879" y="1499975"/>
            <a:ext cx="1658112" cy="40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t">
            <a:noAutofit/>
          </a:bodyPr>
          <a:lstStyle/>
          <a:p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Bots:</a:t>
            </a:r>
          </a:p>
          <a:p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ales Expert System</a:t>
            </a:r>
          </a:p>
          <a:p>
            <a:pPr marL="285750" indent="-285750">
              <a:buFontTx/>
              <a:buChar char="-"/>
            </a:pP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Product support and integration</a:t>
            </a:r>
          </a:p>
          <a:p>
            <a:pPr marL="285750" indent="-285750">
              <a:buFontTx/>
              <a:buChar char="-"/>
            </a:pP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endParaRPr lang="en-US" sz="14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Tier 1 of Support</a:t>
            </a:r>
          </a:p>
        </p:txBody>
      </p:sp>
      <p:grpSp>
        <p:nvGrpSpPr>
          <p:cNvPr id="130" name="Group 129"/>
          <p:cNvGrpSpPr/>
          <p:nvPr/>
        </p:nvGrpSpPr>
        <p:grpSpPr>
          <a:xfrm>
            <a:off x="7674347" y="4747557"/>
            <a:ext cx="365125" cy="365125"/>
            <a:chOff x="3649415" y="1934453"/>
            <a:chExt cx="365125" cy="365125"/>
          </a:xfrm>
        </p:grpSpPr>
        <p:sp>
          <p:nvSpPr>
            <p:cNvPr id="131" name="Oval 130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32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3" name="Oval 21"/>
          <p:cNvSpPr/>
          <p:nvPr/>
        </p:nvSpPr>
        <p:spPr>
          <a:xfrm>
            <a:off x="6258634" y="5195705"/>
            <a:ext cx="303748" cy="306140"/>
          </a:xfrm>
          <a:custGeom>
            <a:avLst/>
            <a:gdLst/>
            <a:ahLst/>
            <a:cxnLst/>
            <a:rect l="l" t="t" r="r" b="b"/>
            <a:pathLst>
              <a:path w="3255473" h="3281120">
                <a:moveTo>
                  <a:pt x="2628792" y="1432041"/>
                </a:moveTo>
                <a:cubicBezTo>
                  <a:pt x="2640727" y="1432139"/>
                  <a:pt x="2653386" y="1432456"/>
                  <a:pt x="2667487" y="1432975"/>
                </a:cubicBezTo>
                <a:cubicBezTo>
                  <a:pt x="2965182" y="1443935"/>
                  <a:pt x="3241997" y="1545378"/>
                  <a:pt x="3255473" y="1769974"/>
                </a:cubicBezTo>
                <a:lnTo>
                  <a:pt x="3053550" y="2608466"/>
                </a:lnTo>
                <a:cubicBezTo>
                  <a:pt x="2913961" y="2885528"/>
                  <a:pt x="2630602" y="2920794"/>
                  <a:pt x="2414411" y="2844743"/>
                </a:cubicBezTo>
                <a:lnTo>
                  <a:pt x="2681229" y="1736772"/>
                </a:lnTo>
                <a:cubicBezTo>
                  <a:pt x="2673579" y="1609272"/>
                  <a:pt x="2628755" y="1510292"/>
                  <a:pt x="2521574" y="1437421"/>
                </a:cubicBezTo>
                <a:cubicBezTo>
                  <a:pt x="2563700" y="1433407"/>
                  <a:pt x="2592986" y="1431744"/>
                  <a:pt x="2628792" y="1432041"/>
                </a:cubicBezTo>
                <a:close/>
                <a:moveTo>
                  <a:pt x="626682" y="1432041"/>
                </a:moveTo>
                <a:cubicBezTo>
                  <a:pt x="662487" y="1431744"/>
                  <a:pt x="691773" y="1433407"/>
                  <a:pt x="733899" y="1437421"/>
                </a:cubicBezTo>
                <a:cubicBezTo>
                  <a:pt x="626718" y="1510292"/>
                  <a:pt x="581894" y="1609272"/>
                  <a:pt x="574244" y="1736772"/>
                </a:cubicBezTo>
                <a:lnTo>
                  <a:pt x="841062" y="2844743"/>
                </a:lnTo>
                <a:cubicBezTo>
                  <a:pt x="624871" y="2920794"/>
                  <a:pt x="341512" y="2885528"/>
                  <a:pt x="201923" y="2608466"/>
                </a:cubicBezTo>
                <a:lnTo>
                  <a:pt x="0" y="1769974"/>
                </a:lnTo>
                <a:cubicBezTo>
                  <a:pt x="13476" y="1545378"/>
                  <a:pt x="290291" y="1443935"/>
                  <a:pt x="587986" y="1432975"/>
                </a:cubicBezTo>
                <a:cubicBezTo>
                  <a:pt x="602087" y="1432456"/>
                  <a:pt x="614746" y="1432139"/>
                  <a:pt x="626682" y="1432041"/>
                </a:cubicBezTo>
                <a:close/>
                <a:moveTo>
                  <a:pt x="1525812" y="1267816"/>
                </a:moveTo>
                <a:cubicBezTo>
                  <a:pt x="2058433" y="1248206"/>
                  <a:pt x="2639086" y="1436734"/>
                  <a:pt x="2550682" y="1736771"/>
                </a:cubicBezTo>
                <a:lnTo>
                  <a:pt x="2260169" y="2903583"/>
                </a:lnTo>
                <a:cubicBezTo>
                  <a:pt x="2141106" y="3270296"/>
                  <a:pt x="1302907" y="3527470"/>
                  <a:pt x="988582" y="2903583"/>
                </a:cubicBezTo>
                <a:lnTo>
                  <a:pt x="707594" y="1736771"/>
                </a:lnTo>
                <a:cubicBezTo>
                  <a:pt x="726346" y="1424232"/>
                  <a:pt x="1111551" y="1283069"/>
                  <a:pt x="1525812" y="1267816"/>
                </a:cubicBezTo>
                <a:close/>
                <a:moveTo>
                  <a:pt x="2588781" y="497832"/>
                </a:moveTo>
                <a:cubicBezTo>
                  <a:pt x="2804662" y="497832"/>
                  <a:pt x="2979668" y="672838"/>
                  <a:pt x="2979668" y="888719"/>
                </a:cubicBezTo>
                <a:cubicBezTo>
                  <a:pt x="2979668" y="1104600"/>
                  <a:pt x="2804662" y="1279606"/>
                  <a:pt x="2588781" y="1279606"/>
                </a:cubicBezTo>
                <a:cubicBezTo>
                  <a:pt x="2372900" y="1279606"/>
                  <a:pt x="2197894" y="1104600"/>
                  <a:pt x="2197894" y="888719"/>
                </a:cubicBezTo>
                <a:cubicBezTo>
                  <a:pt x="2197894" y="672838"/>
                  <a:pt x="2372900" y="497832"/>
                  <a:pt x="2588781" y="497832"/>
                </a:cubicBezTo>
                <a:close/>
                <a:moveTo>
                  <a:pt x="659970" y="497832"/>
                </a:moveTo>
                <a:cubicBezTo>
                  <a:pt x="875851" y="497832"/>
                  <a:pt x="1050857" y="672838"/>
                  <a:pt x="1050857" y="888719"/>
                </a:cubicBezTo>
                <a:cubicBezTo>
                  <a:pt x="1050857" y="1104600"/>
                  <a:pt x="875851" y="1279606"/>
                  <a:pt x="659970" y="1279606"/>
                </a:cubicBezTo>
                <a:cubicBezTo>
                  <a:pt x="444089" y="1279606"/>
                  <a:pt x="269083" y="1104600"/>
                  <a:pt x="269083" y="888719"/>
                </a:cubicBezTo>
                <a:cubicBezTo>
                  <a:pt x="269083" y="672838"/>
                  <a:pt x="444089" y="497832"/>
                  <a:pt x="659970" y="497832"/>
                </a:cubicBezTo>
                <a:close/>
                <a:moveTo>
                  <a:pt x="1631157" y="0"/>
                </a:moveTo>
                <a:cubicBezTo>
                  <a:pt x="1931206" y="0"/>
                  <a:pt x="2174444" y="243238"/>
                  <a:pt x="2174444" y="543287"/>
                </a:cubicBezTo>
                <a:cubicBezTo>
                  <a:pt x="2174444" y="843336"/>
                  <a:pt x="1931206" y="1086574"/>
                  <a:pt x="1631157" y="1086574"/>
                </a:cubicBezTo>
                <a:cubicBezTo>
                  <a:pt x="1331108" y="1086574"/>
                  <a:pt x="1087870" y="843336"/>
                  <a:pt x="1087870" y="543287"/>
                </a:cubicBezTo>
                <a:cubicBezTo>
                  <a:pt x="1087870" y="243238"/>
                  <a:pt x="1331108" y="0"/>
                  <a:pt x="1631157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7674347" y="3213288"/>
            <a:ext cx="365125" cy="365125"/>
            <a:chOff x="3649415" y="1934453"/>
            <a:chExt cx="365125" cy="365125"/>
          </a:xfrm>
        </p:grpSpPr>
        <p:sp>
          <p:nvSpPr>
            <p:cNvPr id="135" name="Oval 134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36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7697833" y="1971730"/>
            <a:ext cx="365125" cy="365125"/>
            <a:chOff x="3649415" y="1934453"/>
            <a:chExt cx="365125" cy="365125"/>
          </a:xfrm>
        </p:grpSpPr>
        <p:sp>
          <p:nvSpPr>
            <p:cNvPr id="142" name="Oval 141"/>
            <p:cNvSpPr/>
            <p:nvPr/>
          </p:nvSpPr>
          <p:spPr>
            <a:xfrm>
              <a:off x="3649415" y="1934453"/>
              <a:ext cx="365125" cy="36512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tlCol="0" anchor="ctr">
              <a:noAutofit/>
            </a:bodyPr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43" name="Freeform 144"/>
            <p:cNvSpPr/>
            <p:nvPr/>
          </p:nvSpPr>
          <p:spPr bwMode="auto">
            <a:xfrm rot="19059247">
              <a:off x="3700235" y="2017528"/>
              <a:ext cx="263485" cy="164131"/>
            </a:xfrm>
            <a:custGeom>
              <a:avLst/>
              <a:gdLst>
                <a:gd name="connsiteX0" fmla="*/ 768587 w 780839"/>
                <a:gd name="connsiteY0" fmla="*/ 317707 h 486404"/>
                <a:gd name="connsiteX1" fmla="*/ 780838 w 780839"/>
                <a:gd name="connsiteY1" fmla="*/ 347284 h 486404"/>
                <a:gd name="connsiteX2" fmla="*/ 780839 w 780839"/>
                <a:gd name="connsiteY2" fmla="*/ 444403 h 486404"/>
                <a:gd name="connsiteX3" fmla="*/ 739010 w 780839"/>
                <a:gd name="connsiteY3" fmla="*/ 486231 h 486404"/>
                <a:gd name="connsiteX4" fmla="*/ 128678 w 780839"/>
                <a:gd name="connsiteY4" fmla="*/ 486231 h 486404"/>
                <a:gd name="connsiteX5" fmla="*/ 128251 w 780839"/>
                <a:gd name="connsiteY5" fmla="*/ 486404 h 486404"/>
                <a:gd name="connsiteX6" fmla="*/ 107906 w 780839"/>
                <a:gd name="connsiteY6" fmla="*/ 486231 h 486404"/>
                <a:gd name="connsiteX7" fmla="*/ 42396 w 780839"/>
                <a:gd name="connsiteY7" fmla="*/ 486231 h 486404"/>
                <a:gd name="connsiteX8" fmla="*/ 12819 w 780839"/>
                <a:gd name="connsiteY8" fmla="*/ 473980 h 486404"/>
                <a:gd name="connsiteX9" fmla="*/ 5076 w 780839"/>
                <a:gd name="connsiteY9" fmla="*/ 455286 h 486404"/>
                <a:gd name="connsiteX10" fmla="*/ 3921 w 780839"/>
                <a:gd name="connsiteY10" fmla="*/ 453542 h 486404"/>
                <a:gd name="connsiteX11" fmla="*/ 3544 w 780839"/>
                <a:gd name="connsiteY11" fmla="*/ 451587 h 486404"/>
                <a:gd name="connsiteX12" fmla="*/ 568 w 780839"/>
                <a:gd name="connsiteY12" fmla="*/ 444403 h 486404"/>
                <a:gd name="connsiteX13" fmla="*/ 568 w 780839"/>
                <a:gd name="connsiteY13" fmla="*/ 436176 h 486404"/>
                <a:gd name="connsiteX14" fmla="*/ 0 w 780839"/>
                <a:gd name="connsiteY14" fmla="*/ 433237 h 486404"/>
                <a:gd name="connsiteX15" fmla="*/ 568 w 780839"/>
                <a:gd name="connsiteY15" fmla="*/ 366357 h 486404"/>
                <a:gd name="connsiteX16" fmla="*/ 568 w 780839"/>
                <a:gd name="connsiteY16" fmla="*/ 347284 h 486404"/>
                <a:gd name="connsiteX17" fmla="*/ 732 w 780839"/>
                <a:gd name="connsiteY17" fmla="*/ 346885 h 486404"/>
                <a:gd name="connsiteX18" fmla="*/ 3237 w 780839"/>
                <a:gd name="connsiteY18" fmla="*/ 51636 h 486404"/>
                <a:gd name="connsiteX19" fmla="*/ 55754 w 780839"/>
                <a:gd name="connsiteY19" fmla="*/ 1 h 486404"/>
                <a:gd name="connsiteX20" fmla="*/ 132371 w 780839"/>
                <a:gd name="connsiteY20" fmla="*/ 651 h 486404"/>
                <a:gd name="connsiteX21" fmla="*/ 184005 w 780839"/>
                <a:gd name="connsiteY21" fmla="*/ 53168 h 486404"/>
                <a:gd name="connsiteX22" fmla="*/ 181866 w 780839"/>
                <a:gd name="connsiteY22" fmla="*/ 305456 h 486404"/>
                <a:gd name="connsiteX23" fmla="*/ 739010 w 780839"/>
                <a:gd name="connsiteY23" fmla="*/ 305456 h 486404"/>
                <a:gd name="connsiteX24" fmla="*/ 768587 w 780839"/>
                <a:gd name="connsiteY24" fmla="*/ 317707 h 4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80839" h="486404">
                  <a:moveTo>
                    <a:pt x="768587" y="317707"/>
                  </a:moveTo>
                  <a:cubicBezTo>
                    <a:pt x="776156" y="325276"/>
                    <a:pt x="780838" y="335733"/>
                    <a:pt x="780838" y="347284"/>
                  </a:cubicBezTo>
                  <a:lnTo>
                    <a:pt x="780839" y="444403"/>
                  </a:lnTo>
                  <a:cubicBezTo>
                    <a:pt x="780838" y="467504"/>
                    <a:pt x="762111" y="486231"/>
                    <a:pt x="739010" y="486231"/>
                  </a:cubicBezTo>
                  <a:lnTo>
                    <a:pt x="128678" y="486231"/>
                  </a:lnTo>
                  <a:lnTo>
                    <a:pt x="128251" y="486404"/>
                  </a:lnTo>
                  <a:lnTo>
                    <a:pt x="107906" y="486231"/>
                  </a:lnTo>
                  <a:lnTo>
                    <a:pt x="42396" y="486231"/>
                  </a:lnTo>
                  <a:cubicBezTo>
                    <a:pt x="30846" y="486231"/>
                    <a:pt x="20389" y="481550"/>
                    <a:pt x="12819" y="473980"/>
                  </a:cubicBezTo>
                  <a:lnTo>
                    <a:pt x="5076" y="455286"/>
                  </a:lnTo>
                  <a:lnTo>
                    <a:pt x="3921" y="453542"/>
                  </a:lnTo>
                  <a:lnTo>
                    <a:pt x="3544" y="451587"/>
                  </a:lnTo>
                  <a:lnTo>
                    <a:pt x="568" y="444403"/>
                  </a:lnTo>
                  <a:lnTo>
                    <a:pt x="568" y="436176"/>
                  </a:lnTo>
                  <a:lnTo>
                    <a:pt x="0" y="433237"/>
                  </a:lnTo>
                  <a:lnTo>
                    <a:pt x="568" y="366357"/>
                  </a:lnTo>
                  <a:lnTo>
                    <a:pt x="568" y="347284"/>
                  </a:lnTo>
                  <a:lnTo>
                    <a:pt x="732" y="346885"/>
                  </a:lnTo>
                  <a:lnTo>
                    <a:pt x="3237" y="51636"/>
                  </a:lnTo>
                  <a:cubicBezTo>
                    <a:pt x="3480" y="22874"/>
                    <a:pt x="26993" y="-243"/>
                    <a:pt x="55754" y="1"/>
                  </a:cubicBezTo>
                  <a:lnTo>
                    <a:pt x="132371" y="651"/>
                  </a:lnTo>
                  <a:cubicBezTo>
                    <a:pt x="161132" y="894"/>
                    <a:pt x="184249" y="24407"/>
                    <a:pt x="184005" y="53168"/>
                  </a:cubicBezTo>
                  <a:lnTo>
                    <a:pt x="181866" y="305456"/>
                  </a:lnTo>
                  <a:lnTo>
                    <a:pt x="739010" y="305456"/>
                  </a:lnTo>
                  <a:cubicBezTo>
                    <a:pt x="750560" y="305456"/>
                    <a:pt x="761017" y="310137"/>
                    <a:pt x="768587" y="317707"/>
                  </a:cubicBezTo>
                  <a:close/>
                </a:path>
              </a:pathLst>
            </a:custGeom>
            <a:solidFill>
              <a:srgbClr val="0074A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26619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371856" y="1066800"/>
            <a:ext cx="11448288" cy="523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ome Neal Analytics Customers …</a:t>
            </a:r>
            <a:endParaRPr lang="en-US" dirty="0"/>
          </a:p>
        </p:txBody>
      </p:sp>
      <p:pic>
        <p:nvPicPr>
          <p:cNvPr id="31" name="Picture 2" descr="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5828" y="1277460"/>
            <a:ext cx="1428750" cy="6000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" descr="allegion-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98403" y="1221263"/>
            <a:ext cx="850601" cy="71246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http://conference.greatplacetowork.ca/storage/images/sponsor-logos/mars_drinks_logo_circle_blue_rgb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98487" y="1268899"/>
            <a:ext cx="937515" cy="6171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http://www.synergysportstech.com/LoggingWeb/Images/logo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85423" y="1316019"/>
            <a:ext cx="1221506" cy="52295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3392" y="1397898"/>
            <a:ext cx="1459986" cy="359196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424" y="2146972"/>
            <a:ext cx="1721747" cy="358062"/>
          </a:xfrm>
          <a:prstGeom prst="rect">
            <a:avLst/>
          </a:prstGeom>
        </p:spPr>
      </p:pic>
      <p:pic>
        <p:nvPicPr>
          <p:cNvPr id="49" name="Picture 12" descr="http://www.allegion.com/content/dam/allegion-corp/newcorp/brands/Schlage_Gray90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5828" y="2459527"/>
            <a:ext cx="1428750" cy="34255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6" b="22646"/>
          <a:stretch/>
        </p:blipFill>
        <p:spPr>
          <a:xfrm>
            <a:off x="565828" y="3384071"/>
            <a:ext cx="1428750" cy="500250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28" y="5402582"/>
            <a:ext cx="1600592" cy="590988"/>
          </a:xfrm>
          <a:prstGeom prst="rect">
            <a:avLst/>
          </a:prstGeom>
        </p:spPr>
      </p:pic>
      <p:pic>
        <p:nvPicPr>
          <p:cNvPr id="53" name="Picture 2" descr="autoTRADER.ca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20416" y="2323700"/>
            <a:ext cx="1406572" cy="4791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848" y="3192832"/>
            <a:ext cx="1257711" cy="599831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7319" y="5151066"/>
            <a:ext cx="1212766" cy="804405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094847" y="4182631"/>
            <a:ext cx="1257710" cy="578466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329" y="2084596"/>
            <a:ext cx="1089828" cy="790470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6042" y="3073567"/>
            <a:ext cx="1162402" cy="1162402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763" y="4404490"/>
            <a:ext cx="1886960" cy="1559101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599" y="3264663"/>
            <a:ext cx="1128736" cy="785884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423" y="5531248"/>
            <a:ext cx="1339874" cy="534444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423" y="3928841"/>
            <a:ext cx="1509650" cy="643514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23" b="31065"/>
          <a:stretch/>
        </p:blipFill>
        <p:spPr>
          <a:xfrm>
            <a:off x="10014556" y="2247180"/>
            <a:ext cx="1608822" cy="528648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685423" y="4880352"/>
            <a:ext cx="1428750" cy="342900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423" y="2813032"/>
            <a:ext cx="1077084" cy="807813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938" y="4541885"/>
            <a:ext cx="1483440" cy="643239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9872" y="5675209"/>
            <a:ext cx="1623506" cy="267278"/>
          </a:xfrm>
          <a:prstGeom prst="rect">
            <a:avLst/>
          </a:prstGeom>
        </p:spPr>
      </p:pic>
      <p:pic>
        <p:nvPicPr>
          <p:cNvPr id="36" name="Picture 35" descr="https://www.akyumen.com/wp-content/uploads/2016/02/AKY01_logo_lg_Blue_PAN294C.png">
            <a:hlinkClick r:id="rId31" tooltip="&quot;&quot;"/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828" y="4379106"/>
            <a:ext cx="1828800" cy="43891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9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558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JCG7I.ekyCL44CMYSu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3fH_4FyEKbEBILtpqK7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ekeke6kyr2vxiJgcg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TAG Template">
  <a:themeElements>
    <a:clrScheme name="Neal Analytics">
      <a:dk1>
        <a:srgbClr val="000000"/>
      </a:dk1>
      <a:lt1>
        <a:srgbClr val="FFFFFF"/>
      </a:lt1>
      <a:dk2>
        <a:srgbClr val="00B0F0"/>
      </a:dk2>
      <a:lt2>
        <a:srgbClr val="5EB83E"/>
      </a:lt2>
      <a:accent1>
        <a:srgbClr val="D1B929"/>
      </a:accent1>
      <a:accent2>
        <a:srgbClr val="C53961"/>
      </a:accent2>
      <a:accent3>
        <a:srgbClr val="5462EA"/>
      </a:accent3>
      <a:accent4>
        <a:srgbClr val="966060"/>
      </a:accent4>
      <a:accent5>
        <a:srgbClr val="A3AF79"/>
      </a:accent5>
      <a:accent6>
        <a:srgbClr val="8B6B8B"/>
      </a:accent6>
      <a:hlink>
        <a:srgbClr val="686868"/>
      </a:hlink>
      <a:folHlink>
        <a:srgbClr val="7B0506"/>
      </a:folHlink>
    </a:clrScheme>
    <a:fontScheme name="Custom 6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</a:spPr>
      <a:bodyPr rtlCol="0" anchor="ctr">
        <a:noAutofit/>
      </a:bodyPr>
      <a:lstStyle>
        <a:defPPr algn="ctr">
          <a:defRPr dirty="0">
            <a:solidFill>
              <a:schemeClr val="tx1">
                <a:lumMod val="75000"/>
                <a:lumOff val="25000"/>
              </a:schemeClr>
            </a:solidFill>
            <a:latin typeface="+mn-lt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90</TotalTime>
  <Words>2805</Words>
  <Application>Microsoft Office PowerPoint</Application>
  <PresentationFormat>Widescreen</PresentationFormat>
  <Paragraphs>555</Paragraphs>
  <Slides>27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ＭＳ Ｐゴシック</vt:lpstr>
      <vt:lpstr>Arial</vt:lpstr>
      <vt:lpstr>Calibri</vt:lpstr>
      <vt:lpstr>Consolas</vt:lpstr>
      <vt:lpstr>Segoe UI</vt:lpstr>
      <vt:lpstr>Segoe UI Light</vt:lpstr>
      <vt:lpstr>Segoe UI Semibold</vt:lpstr>
      <vt:lpstr>Times New Roman</vt:lpstr>
      <vt:lpstr>Wingdings</vt:lpstr>
      <vt:lpstr>Wingdings 2</vt:lpstr>
      <vt:lpstr>9_TAG Template</vt:lpstr>
      <vt:lpstr>5-30721_Build_2016_Template_Light</vt:lpstr>
      <vt:lpstr>think-cell Slide</vt:lpstr>
      <vt:lpstr>West Bot Hackathon</vt:lpstr>
      <vt:lpstr>Agenda</vt:lpstr>
      <vt:lpstr>Agenda</vt:lpstr>
      <vt:lpstr>We are a specialist, Microsoft-exclusive SI(1)</vt:lpstr>
      <vt:lpstr>Why Neal Analytics?</vt:lpstr>
      <vt:lpstr>Engagement Models for Neal Analytics</vt:lpstr>
      <vt:lpstr>Services Areas</vt:lpstr>
      <vt:lpstr>Finished Solutions: Technology Scale</vt:lpstr>
      <vt:lpstr>Some Neal Analytics Customers …</vt:lpstr>
      <vt:lpstr>Objectives and Approach</vt:lpstr>
      <vt:lpstr>Advantages of Bot Automation</vt:lpstr>
      <vt:lpstr>Key BOT Use Cases</vt:lpstr>
      <vt:lpstr>Typical BOT Roadmap - Services</vt:lpstr>
      <vt:lpstr>BOT Acceleration Managed Service Value </vt:lpstr>
      <vt:lpstr>Three Paths to Bot Interaction</vt:lpstr>
      <vt:lpstr>Bot Conceptual Architecture – Helpdesk Agent</vt:lpstr>
      <vt:lpstr>Bot Technology Functional Architecture – Process Bot</vt:lpstr>
      <vt:lpstr>A System That Grows Smarter With Use</vt:lpstr>
      <vt:lpstr>Microsoft Cognitive Services enables bot functionality to be extended</vt:lpstr>
      <vt:lpstr>Scaled Implementation</vt:lpstr>
      <vt:lpstr>Real-time view into performance of Bot</vt:lpstr>
      <vt:lpstr>Bot Features Overview</vt:lpstr>
      <vt:lpstr>Agenda</vt:lpstr>
      <vt:lpstr>Demo</vt:lpstr>
      <vt:lpstr>Agenda</vt:lpstr>
      <vt:lpstr>Why is Neal Analytics Different?</vt:lpstr>
      <vt:lpstr>Append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er Procurement Bot</dc:title>
  <dc:subject>Readout</dc:subject>
  <dc:creator>Eric Hullander;David Brown</dc:creator>
  <cp:lastModifiedBy>Eric Hullander</cp:lastModifiedBy>
  <cp:revision>2217</cp:revision>
  <cp:lastPrinted>2016-12-14T20:20:00Z</cp:lastPrinted>
  <dcterms:created xsi:type="dcterms:W3CDTF">2016-02-16T21:29:42Z</dcterms:created>
  <dcterms:modified xsi:type="dcterms:W3CDTF">2017-02-10T18:25:58Z</dcterms:modified>
</cp:coreProperties>
</file>